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80" r:id="rId2"/>
  </p:sldMasterIdLst>
  <p:notesMasterIdLst>
    <p:notesMasterId r:id="rId16"/>
  </p:notesMasterIdLst>
  <p:sldIdLst>
    <p:sldId id="313" r:id="rId3"/>
    <p:sldId id="276" r:id="rId4"/>
    <p:sldId id="277" r:id="rId5"/>
    <p:sldId id="314" r:id="rId6"/>
    <p:sldId id="315" r:id="rId7"/>
    <p:sldId id="294" r:id="rId8"/>
    <p:sldId id="316" r:id="rId9"/>
    <p:sldId id="290" r:id="rId10"/>
    <p:sldId id="291" r:id="rId11"/>
    <p:sldId id="297" r:id="rId12"/>
    <p:sldId id="298" r:id="rId13"/>
    <p:sldId id="299" r:id="rId14"/>
    <p:sldId id="293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15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>
      <p:cViewPr>
        <p:scale>
          <a:sx n="80" d="100"/>
          <a:sy n="80" d="100"/>
        </p:scale>
        <p:origin x="-852" y="21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dirty="0" smtClean="0"/>
        </a:p>
        <a:p>
          <a:endParaRPr lang="ru-RU" sz="1200" dirty="0" smtClean="0"/>
        </a:p>
        <a:p>
          <a:r>
            <a:rPr lang="ru-RU" sz="1200" dirty="0" smtClean="0"/>
            <a:t>Федеральный </a:t>
          </a:r>
        </a:p>
        <a:p>
          <a:r>
            <a:rPr lang="ru-RU" sz="1200" dirty="0" smtClean="0"/>
            <a:t>уровень</a:t>
          </a:r>
          <a:endParaRPr lang="ru-RU" sz="1200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dirty="0"/>
            <a:t>Уровень 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740" custLinFactNeighborY="-195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090C8FE-3A8D-45E4-9A39-BDF3A446EC7B}" type="presOf" srcId="{F014B99B-BC0F-4D51-AA35-03139CBC5BDF}" destId="{158BBE6D-1C8E-4142-827F-B1B32D20364B}" srcOrd="1" destOrd="0" presId="urn:microsoft.com/office/officeart/2005/8/layout/pyramid1"/>
    <dgm:cxn modelId="{97C7F96A-3BA1-4308-8E39-3BFDE72C1E2E}" type="presOf" srcId="{C055D918-0D48-44D3-9287-CAE1B93EB64A}" destId="{8C222443-D6D5-437E-8A06-7845FF64044F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DDB096-099F-4112-A961-C710CDB61D76}" type="presOf" srcId="{8380A261-4409-4C6B-8A07-0D64C5422F6D}" destId="{3405B94A-B110-4EB0-B99D-680A85764021}" srcOrd="0" destOrd="0" presId="urn:microsoft.com/office/officeart/2005/8/layout/pyramid1"/>
    <dgm:cxn modelId="{BAF74DA1-1177-4452-A7D1-2BE1C330439A}" type="presOf" srcId="{8380A261-4409-4C6B-8A07-0D64C5422F6D}" destId="{EB789FCB-B92C-4A52-BB06-4A95FA62001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BF884041-C495-40C2-954D-ED460E0C9E42}" type="presOf" srcId="{F014B99B-BC0F-4D51-AA35-03139CBC5BDF}" destId="{47753778-DDCD-4F66-8671-0963E55AC1AB}" srcOrd="0" destOrd="0" presId="urn:microsoft.com/office/officeart/2005/8/layout/pyramid1"/>
    <dgm:cxn modelId="{0B9FD320-E29B-46AF-84E1-6690721FCFEE}" type="presOf" srcId="{CBB2EDB4-08BF-49DB-9282-C363CE23E3D0}" destId="{8064A9E2-4365-4891-A563-4210D9FE6047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3F685047-840D-41BD-8B39-F56FDB0EDE37}" type="presOf" srcId="{CBB2EDB4-08BF-49DB-9282-C363CE23E3D0}" destId="{7099C5AD-A666-455F-9144-31509FAE35FB}" srcOrd="0" destOrd="0" presId="urn:microsoft.com/office/officeart/2005/8/layout/pyramid1"/>
    <dgm:cxn modelId="{82BDBF3A-2881-45E2-AB2C-5F61A5B42B5F}" type="presParOf" srcId="{8C222443-D6D5-437E-8A06-7845FF64044F}" destId="{8E592AC7-B094-488F-86DE-8B46AA43A5F7}" srcOrd="0" destOrd="0" presId="urn:microsoft.com/office/officeart/2005/8/layout/pyramid1"/>
    <dgm:cxn modelId="{EA83E697-AD0D-4913-86D5-33656CEA0F27}" type="presParOf" srcId="{8E592AC7-B094-488F-86DE-8B46AA43A5F7}" destId="{47753778-DDCD-4F66-8671-0963E55AC1AB}" srcOrd="0" destOrd="0" presId="urn:microsoft.com/office/officeart/2005/8/layout/pyramid1"/>
    <dgm:cxn modelId="{4E448365-C405-4CEF-8870-F8D1A88C9D12}" type="presParOf" srcId="{8E592AC7-B094-488F-86DE-8B46AA43A5F7}" destId="{158BBE6D-1C8E-4142-827F-B1B32D20364B}" srcOrd="1" destOrd="0" presId="urn:microsoft.com/office/officeart/2005/8/layout/pyramid1"/>
    <dgm:cxn modelId="{337BF233-12C0-4BDD-90E3-F69133FF1358}" type="presParOf" srcId="{8C222443-D6D5-437E-8A06-7845FF64044F}" destId="{08609C55-E487-4600-AFD0-8994D3888F22}" srcOrd="1" destOrd="0" presId="urn:microsoft.com/office/officeart/2005/8/layout/pyramid1"/>
    <dgm:cxn modelId="{77A2522E-13AF-4299-9ECB-CFB63F3BB5AA}" type="presParOf" srcId="{08609C55-E487-4600-AFD0-8994D3888F22}" destId="{7099C5AD-A666-455F-9144-31509FAE35FB}" srcOrd="0" destOrd="0" presId="urn:microsoft.com/office/officeart/2005/8/layout/pyramid1"/>
    <dgm:cxn modelId="{8E3AD56F-C12F-458B-B12F-F42324A0E8D8}" type="presParOf" srcId="{08609C55-E487-4600-AFD0-8994D3888F22}" destId="{8064A9E2-4365-4891-A563-4210D9FE6047}" srcOrd="1" destOrd="0" presId="urn:microsoft.com/office/officeart/2005/8/layout/pyramid1"/>
    <dgm:cxn modelId="{C478F6F5-99A0-47DC-B1F2-1A8B9BF9BD3E}" type="presParOf" srcId="{8C222443-D6D5-437E-8A06-7845FF64044F}" destId="{4E66420A-6794-4210-A8DC-A681DFE94B26}" srcOrd="2" destOrd="0" presId="urn:microsoft.com/office/officeart/2005/8/layout/pyramid1"/>
    <dgm:cxn modelId="{4292C827-C512-4D13-B1F5-23EDBB349984}" type="presParOf" srcId="{4E66420A-6794-4210-A8DC-A681DFE94B26}" destId="{3405B94A-B110-4EB0-B99D-680A85764021}" srcOrd="0" destOrd="0" presId="urn:microsoft.com/office/officeart/2005/8/layout/pyramid1"/>
    <dgm:cxn modelId="{BCDBC359-61E7-4D04-B6A8-8D8C987696F5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870803" y="0"/>
          <a:ext cx="1870804" cy="1415050"/>
        </a:xfrm>
        <a:prstGeom prst="trapezoid">
          <a:avLst>
            <a:gd name="adj" fmla="val 66104"/>
          </a:avLst>
        </a:prstGeom>
        <a:solidFill>
          <a:schemeClr val="bg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уровень</a:t>
          </a:r>
          <a:endParaRPr lang="ru-RU" sz="1200" kern="1200" dirty="0"/>
        </a:p>
      </dsp:txBody>
      <dsp:txXfrm>
        <a:off x="1870803" y="0"/>
        <a:ext cx="1870804" cy="1415050"/>
      </dsp:txXfrm>
    </dsp:sp>
    <dsp:sp modelId="{7099C5AD-A666-455F-9144-31509FAE35FB}">
      <dsp:nvSpPr>
        <dsp:cNvPr id="0" name=""/>
        <dsp:cNvSpPr/>
      </dsp:nvSpPr>
      <dsp:spPr>
        <a:xfrm>
          <a:off x="928704" y="1428762"/>
          <a:ext cx="3741608" cy="1415050"/>
        </a:xfrm>
        <a:prstGeom prst="trapezoid">
          <a:avLst>
            <a:gd name="adj" fmla="val 66104"/>
          </a:avLst>
        </a:prstGeom>
        <a:solidFill>
          <a:srgbClr val="FFC000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/>
            <a:t>Региональный уровень</a:t>
          </a:r>
        </a:p>
      </dsp:txBody>
      <dsp:txXfrm>
        <a:off x="1583485" y="1428762"/>
        <a:ext cx="2432045" cy="1415050"/>
      </dsp:txXfrm>
    </dsp:sp>
    <dsp:sp modelId="{3405B94A-B110-4EB0-B99D-680A85764021}">
      <dsp:nvSpPr>
        <dsp:cNvPr id="0" name=""/>
        <dsp:cNvSpPr/>
      </dsp:nvSpPr>
      <dsp:spPr>
        <a:xfrm>
          <a:off x="0" y="2802450"/>
          <a:ext cx="5612412" cy="1415050"/>
        </a:xfrm>
        <a:prstGeom prst="trapezoid">
          <a:avLst>
            <a:gd name="adj" fmla="val 66104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/>
            <a:t>Уровень организации</a:t>
          </a:r>
        </a:p>
      </dsp:txBody>
      <dsp:txXfrm>
        <a:off x="982172" y="2802450"/>
        <a:ext cx="3648067" cy="1415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7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Титульный слайд</a:t>
            </a:r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5805" indent="-283002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2007" indent="-226401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4809" indent="-226401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37613" indent="-226401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90416" indent="-2264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3217" indent="-2264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396020" indent="-2264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48822" indent="-22640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3AA20CE2-2657-487F-8346-5B634EFDC818}" type="slidenum">
              <a:rPr lang="ru-RU" smtClean="0">
                <a:solidFill>
                  <a:prstClr val="black"/>
                </a:solidFill>
                <a:latin typeface="Calibri" pitchFamily="34" charset="0"/>
              </a:rPr>
              <a:pPr eaLnBrk="1" hangingPunct="1">
                <a:defRPr/>
              </a:pPr>
              <a:t>1</a:t>
            </a:fld>
            <a:endParaRPr lang="ru-RU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57403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4994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6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reeform 7"/>
          <p:cNvSpPr/>
          <p:nvPr/>
        </p:nvSpPr>
        <p:spPr>
          <a:xfrm>
            <a:off x="-1588" y="-1588"/>
            <a:ext cx="9145588" cy="6859588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19140000">
            <a:off x="817113" y="1730403"/>
            <a:ext cx="5648623" cy="1204306"/>
          </a:xfrm>
        </p:spPr>
        <p:txBody>
          <a:bodyPr bIns="9143"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19140000">
            <a:off x="1212278" y="2470926"/>
            <a:ext cx="6511131" cy="329259"/>
          </a:xfrm>
        </p:spPr>
        <p:txBody>
          <a:bodyPr tIns="9143">
            <a:normAutofit/>
          </a:bodyPr>
          <a:lstStyle>
            <a:lvl1pPr marL="0" indent="0" algn="l">
              <a:buNone/>
              <a:defRPr kumimoji="0" lang="en-US" sz="1400" b="0" i="0" u="none" strike="noStrike" kern="1200" cap="all" spc="40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63CC19-B4D4-4D58-8619-200B0960A2AF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6D28C8-3593-49F7-8360-9B5360CA9F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209230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8CF506-5FDC-40F9-A277-37F9915173B8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FF530-66AC-4BA1-9D38-29D322A732B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6116360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"/>
          <p:cNvSpPr/>
          <p:nvPr/>
        </p:nvSpPr>
        <p:spPr>
          <a:xfrm>
            <a:off x="-1588" y="-1588"/>
            <a:ext cx="9145588" cy="6859588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ight Triangle 6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819399" y="1726738"/>
            <a:ext cx="5650992" cy="1207509"/>
          </a:xfrm>
        </p:spPr>
        <p:txBody>
          <a:bodyPr bIns="9143" anchor="b"/>
          <a:lstStyle>
            <a:lvl1pPr algn="l">
              <a:defRPr kumimoji="0" lang="en-US" sz="3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 rot="19140000">
            <a:off x="1216152" y="2468304"/>
            <a:ext cx="6510528" cy="329184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400" b="0" i="0" u="none" strike="noStrike" kern="1200" cap="all" spc="40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571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9C817E-A9EF-4C11-8F36-57C7D3D3EFA3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8A3F8D-59C6-4021-9258-396631E2D1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4043978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1" y="1097280"/>
            <a:ext cx="3200400" cy="37124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016" y="1097280"/>
            <a:ext cx="3200400" cy="37124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0D8D10-3C08-4B97-9EFD-2C446E035D6A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9F9C4-AE1B-4D5A-BDE5-6EC2538E9DE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4254774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1" y="1097280"/>
            <a:ext cx="3200400" cy="548640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400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9151" y="1701848"/>
            <a:ext cx="3200400" cy="31089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0016" y="1097280"/>
            <a:ext cx="3200400" cy="548640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400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701848"/>
            <a:ext cx="3200400" cy="31089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48ADBF-791F-4FD6-94E6-534A399B5894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6371B-3868-44C5-B45A-6413DEFD16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9026255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249B71-D33C-4BC6-A381-EC47CF89F4DB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Эффективное управление временем и ресурсами.                                                                                            </a:t>
            </a:r>
            <a:fld id="{994C37AD-D76B-4442-8885-BC74C48B57E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6867978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455CA-3DAF-4D38-810B-69C6A6A87207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6BE17D-FB7F-4E22-AEC8-3FE0F9C880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0431396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16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ight Triangle 17"/>
          <p:cNvSpPr/>
          <p:nvPr/>
        </p:nvSpPr>
        <p:spPr>
          <a:xfrm rot="5400000">
            <a:off x="433388" y="-433388"/>
            <a:ext cx="6858000" cy="7724775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784930" y="1576104"/>
            <a:ext cx="5212080" cy="1089427"/>
          </a:xfrm>
        </p:spPr>
        <p:txBody>
          <a:bodyPr bIns="0" anchor="b"/>
          <a:lstStyle>
            <a:lvl1pPr algn="l">
              <a:defRPr kumimoji="0" lang="en-US" sz="2800" b="0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9553" y="2618913"/>
            <a:ext cx="3807779" cy="33246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297954" y="2253385"/>
            <a:ext cx="5794760" cy="623314"/>
          </a:xfrm>
        </p:spPr>
        <p:txBody>
          <a:bodyPr>
            <a:normAutofit/>
          </a:bodyPr>
          <a:lstStyle>
            <a:lvl1pPr marL="0" indent="0"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CD2EF1-A76D-471F-B296-9907CE606840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34342"/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ln>
            <a:solidFill>
              <a:schemeClr val="tx2"/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73C2EBF-F558-4195-9B06-6D3B07C7625F}" type="slidenum">
              <a:rPr lang="ru-RU">
                <a:solidFill>
                  <a:srgbClr val="434342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343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04304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8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reeform 9"/>
          <p:cNvSpPr/>
          <p:nvPr/>
        </p:nvSpPr>
        <p:spPr>
          <a:xfrm>
            <a:off x="0" y="5048250"/>
            <a:ext cx="3571875" cy="1809750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1809750 h 1809750"/>
              <a:gd name="connsiteX1" fmla="*/ 1895475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  <a:gd name="connsiteX0" fmla="*/ 0 w 3571875"/>
              <a:gd name="connsiteY0" fmla="*/ 1809750 h 1809750"/>
              <a:gd name="connsiteX1" fmla="*/ 2038350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1875" h="1809750">
                <a:moveTo>
                  <a:pt x="0" y="1809750"/>
                </a:moveTo>
                <a:lnTo>
                  <a:pt x="2038350" y="0"/>
                </a:lnTo>
                <a:lnTo>
                  <a:pt x="3571875" y="1809750"/>
                </a:lnTo>
                <a:lnTo>
                  <a:pt x="0" y="18097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028827" y="1"/>
            <a:ext cx="7115175" cy="6858000"/>
          </a:xfrm>
          <a:custGeom>
            <a:avLst/>
            <a:gdLst>
              <a:gd name="connsiteX0" fmla="*/ 0 w 7104888"/>
              <a:gd name="connsiteY0" fmla="*/ 0 h 6858000"/>
              <a:gd name="connsiteX1" fmla="*/ 7104888 w 7104888"/>
              <a:gd name="connsiteY1" fmla="*/ 0 h 6858000"/>
              <a:gd name="connsiteX2" fmla="*/ 7104888 w 7104888"/>
              <a:gd name="connsiteY2" fmla="*/ 6858000 h 6858000"/>
              <a:gd name="connsiteX3" fmla="*/ 0 w 7104888"/>
              <a:gd name="connsiteY3" fmla="*/ 6858000 h 6858000"/>
              <a:gd name="connsiteX4" fmla="*/ 0 w 7104888"/>
              <a:gd name="connsiteY4" fmla="*/ 0 h 6858000"/>
              <a:gd name="connsiteX0" fmla="*/ 0 w 7104888"/>
              <a:gd name="connsiteY0" fmla="*/ 0 h 6858000"/>
              <a:gd name="connsiteX1" fmla="*/ 5695188 w 7104888"/>
              <a:gd name="connsiteY1" fmla="*/ 0 h 6858000"/>
              <a:gd name="connsiteX2" fmla="*/ 7104888 w 7104888"/>
              <a:gd name="connsiteY2" fmla="*/ 0 h 6858000"/>
              <a:gd name="connsiteX3" fmla="*/ 7104888 w 7104888"/>
              <a:gd name="connsiteY3" fmla="*/ 6858000 h 6858000"/>
              <a:gd name="connsiteX4" fmla="*/ 0 w 7104888"/>
              <a:gd name="connsiteY4" fmla="*/ 6858000 h 6858000"/>
              <a:gd name="connsiteX5" fmla="*/ 0 w 7104888"/>
              <a:gd name="connsiteY5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0287 w 7115175"/>
              <a:gd name="connsiteY4" fmla="*/ 6858000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10287 w 7115175"/>
              <a:gd name="connsiteY5" fmla="*/ 6858000 h 6858000"/>
              <a:gd name="connsiteX6" fmla="*/ 0 w 7115175"/>
              <a:gd name="connsiteY6" fmla="*/ 5048250 h 6858000"/>
              <a:gd name="connsiteX7" fmla="*/ 10287 w 7115175"/>
              <a:gd name="connsiteY7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0 w 7115175"/>
              <a:gd name="connsiteY0" fmla="*/ 504825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5175" h="6858000">
                <a:moveTo>
                  <a:pt x="0" y="5048250"/>
                </a:moveTo>
                <a:lnTo>
                  <a:pt x="5705475" y="0"/>
                </a:lnTo>
                <a:lnTo>
                  <a:pt x="7115175" y="0"/>
                </a:lnTo>
                <a:lnTo>
                  <a:pt x="7115175" y="6858000"/>
                </a:lnTo>
                <a:lnTo>
                  <a:pt x="1533526" y="6848475"/>
                </a:lnTo>
                <a:lnTo>
                  <a:pt x="0" y="50482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</p:spPr>
        <p:txBody>
          <a:bodyPr rIns="182860" rtlCol="0" anchor="ctr">
            <a:normAutofit/>
          </a:bodyPr>
          <a:lstStyle>
            <a:lvl1pPr algn="r"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671197" y="1717501"/>
            <a:ext cx="5486400" cy="867444"/>
          </a:xfrm>
        </p:spPr>
        <p:txBody>
          <a:bodyPr anchor="b"/>
          <a:lstStyle>
            <a:lvl1pPr algn="l">
              <a:defRPr sz="2800" b="0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143480" y="2180529"/>
            <a:ext cx="6096545" cy="740664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4DD57C-A1DF-47AC-AE8F-E4890A5CD938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D361C-42FF-49A6-90E7-21ACA8D8A7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5196659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63E95-4BFF-45AC-AD33-50B744F719D4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EF0844-B1F3-4DA5-B802-B98CC64D06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573967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4678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4678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B480C0-31E3-442C-B444-DEE41345C6CF}" type="datetime1">
              <a:rPr lang="ru-RU"/>
              <a:pPr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D87A8-A649-4F33-828B-B256C5B2E9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5296962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7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3175" y="5051425"/>
            <a:ext cx="3575050" cy="1806575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883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050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812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76450 w 3571875"/>
              <a:gd name="connsiteY2" fmla="*/ 22740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245519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38350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2433637 h 2433637"/>
              <a:gd name="connsiteX1" fmla="*/ 257175 w 3571875"/>
              <a:gd name="connsiteY1" fmla="*/ 0 h 2433637"/>
              <a:gd name="connsiteX2" fmla="*/ 2038350 w 3571875"/>
              <a:gd name="connsiteY2" fmla="*/ 628650 h 2433637"/>
              <a:gd name="connsiteX3" fmla="*/ 3571875 w 3571875"/>
              <a:gd name="connsiteY3" fmla="*/ 2433637 h 2433637"/>
              <a:gd name="connsiteX4" fmla="*/ 0 w 3571875"/>
              <a:gd name="connsiteY4" fmla="*/ 2433637 h 2433637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24051 w 3574257"/>
              <a:gd name="connsiteY2" fmla="*/ 3071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40682 w 3574257"/>
              <a:gd name="connsiteY2" fmla="*/ 450057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57351 w 3574257"/>
              <a:gd name="connsiteY2" fmla="*/ 2309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774032 w 3574257"/>
              <a:gd name="connsiteY2" fmla="*/ 161925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69294 w 3574257"/>
              <a:gd name="connsiteY2" fmla="*/ 2143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819275 w 3574257"/>
              <a:gd name="connsiteY2" fmla="*/ 200026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5494 w 3574257"/>
              <a:gd name="connsiteY2" fmla="*/ 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4257" h="1807368">
                <a:moveTo>
                  <a:pt x="2382" y="1807368"/>
                </a:moveTo>
                <a:lnTo>
                  <a:pt x="0" y="0"/>
                </a:lnTo>
                <a:lnTo>
                  <a:pt x="2045494" y="1"/>
                </a:lnTo>
                <a:lnTo>
                  <a:pt x="3574257" y="1807368"/>
                </a:lnTo>
                <a:lnTo>
                  <a:pt x="2382" y="18073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-1588" y="5051425"/>
            <a:ext cx="9145588" cy="1806575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  <a:gd name="connsiteX0" fmla="*/ 0 w 3352800"/>
              <a:gd name="connsiteY0" fmla="*/ 2002631 h 2002631"/>
              <a:gd name="connsiteX1" fmla="*/ 754045 w 3352800"/>
              <a:gd name="connsiteY1" fmla="*/ 146832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26618 h 526618"/>
              <a:gd name="connsiteX1" fmla="*/ 980611 w 3352800"/>
              <a:gd name="connsiteY1" fmla="*/ 9368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6888 h 526888"/>
              <a:gd name="connsiteX1" fmla="*/ 744735 w 3352800"/>
              <a:gd name="connsiteY1" fmla="*/ 0 h 526888"/>
              <a:gd name="connsiteX2" fmla="*/ 3352800 w 3352800"/>
              <a:gd name="connsiteY2" fmla="*/ 270 h 526888"/>
              <a:gd name="connsiteX3" fmla="*/ 3352800 w 3352800"/>
              <a:gd name="connsiteY3" fmla="*/ 526888 h 526888"/>
              <a:gd name="connsiteX4" fmla="*/ 0 w 3352800"/>
              <a:gd name="connsiteY4" fmla="*/ 526888 h 526888"/>
              <a:gd name="connsiteX0" fmla="*/ 0 w 3352800"/>
              <a:gd name="connsiteY0" fmla="*/ 526618 h 526618"/>
              <a:gd name="connsiteX1" fmla="*/ 811948 w 3352800"/>
              <a:gd name="connsiteY1" fmla="*/ 6092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966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241069 w 3352800"/>
              <a:gd name="connsiteY2" fmla="*/ 94144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313 h 527313"/>
              <a:gd name="connsiteX1" fmla="*/ 900984 w 3352800"/>
              <a:gd name="connsiteY1" fmla="*/ 97774 h 527313"/>
              <a:gd name="connsiteX2" fmla="*/ 3352800 w 3352800"/>
              <a:gd name="connsiteY2" fmla="*/ 0 h 527313"/>
              <a:gd name="connsiteX3" fmla="*/ 3352800 w 3352800"/>
              <a:gd name="connsiteY3" fmla="*/ 527313 h 527313"/>
              <a:gd name="connsiteX4" fmla="*/ 0 w 3352800"/>
              <a:gd name="connsiteY4" fmla="*/ 527313 h 527313"/>
              <a:gd name="connsiteX0" fmla="*/ 0 w 3352800"/>
              <a:gd name="connsiteY0" fmla="*/ 527584 h 527584"/>
              <a:gd name="connsiteX1" fmla="*/ 748227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527584">
                <a:moveTo>
                  <a:pt x="0" y="527584"/>
                </a:moveTo>
                <a:lnTo>
                  <a:pt x="748227" y="0"/>
                </a:lnTo>
                <a:lnTo>
                  <a:pt x="3352800" y="271"/>
                </a:lnTo>
                <a:lnTo>
                  <a:pt x="3352800" y="527584"/>
                </a:lnTo>
                <a:lnTo>
                  <a:pt x="0" y="527584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325" y="365125"/>
            <a:ext cx="7521575" cy="549275"/>
          </a:xfrm>
          <a:prstGeom prst="rect">
            <a:avLst/>
          </a:prstGeom>
        </p:spPr>
        <p:txBody>
          <a:bodyPr vert="horz" lIns="91430" tIns="45716" rIns="91430" bIns="45716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22325" y="1100138"/>
            <a:ext cx="7521575" cy="35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9140000">
            <a:off x="201613" y="5870575"/>
            <a:ext cx="2176462" cy="201613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D070D0-5926-40D7-893A-9C784F476411}" type="datetime1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7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17900" y="6284913"/>
            <a:ext cx="4724400" cy="274637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000" cap="all" spc="200" baseline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01050" y="6170613"/>
            <a:ext cx="503238" cy="503237"/>
          </a:xfrm>
          <a:prstGeom prst="ellipse">
            <a:avLst/>
          </a:prstGeom>
          <a:ln w="19050">
            <a:solidFill>
              <a:srgbClr val="FFFFFF"/>
            </a:solidFill>
          </a:ln>
        </p:spPr>
        <p:txBody>
          <a:bodyPr vert="horz" lIns="9143" tIns="9143" rIns="9143" bIns="9143" rtlCol="0" anchor="ctr">
            <a:normAutofit/>
          </a:bodyPr>
          <a:lstStyle>
            <a:lvl1pPr algn="ctr">
              <a:defRPr sz="160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20F79A6-0D1D-4A9E-AF6E-559CB1597FBC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9761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9pPr>
    </p:titleStyle>
    <p:bodyStyle>
      <a:lvl1pPr marL="341313" indent="-341313" algn="l" rtl="0" eaLnBrk="0" fontAlgn="base" hangingPunct="0">
        <a:spcBef>
          <a:spcPts val="800"/>
        </a:spcBef>
        <a:spcAft>
          <a:spcPct val="0"/>
        </a:spcAft>
        <a:buFont typeface="Arial" pitchFamily="34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61925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8650" indent="-161925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97163" indent="-173717" algn="l" defTabSz="914303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53169" indent="-164574" algn="l" defTabSz="914303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81745" indent="-164574" algn="l" defTabSz="914303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92035" indent="-164574" algn="l" defTabSz="914303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61950" y="2276475"/>
            <a:ext cx="8458200" cy="1152525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3000" b="1" dirty="0"/>
              <a:t/>
            </a:r>
            <a:br>
              <a:rPr lang="ru-RU" sz="3000" b="1" dirty="0"/>
            </a:br>
            <a:r>
              <a:rPr lang="ru-RU" sz="3000" b="1" dirty="0"/>
              <a:t>«Оптимизация процесса </a:t>
            </a:r>
            <a:r>
              <a:rPr lang="ru-RU" altLang="ru-RU" sz="3000" b="1" dirty="0" smtClean="0"/>
              <a:t>Утреннего приёма детей </a:t>
            </a:r>
            <a:r>
              <a:rPr lang="ru-RU" altLang="ru-RU" sz="3000" b="1" dirty="0"/>
              <a:t>в школу в условиях </a:t>
            </a:r>
            <a:r>
              <a:rPr lang="en-US" altLang="ru-RU" sz="3000" b="1" dirty="0"/>
              <a:t>covid-19</a:t>
            </a:r>
            <a:r>
              <a:rPr lang="ru-RU" sz="3000" b="1" dirty="0"/>
              <a:t>»</a:t>
            </a: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381000" y="476250"/>
            <a:ext cx="8458200" cy="74295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endParaRPr lang="ru-RU" sz="2000">
              <a:latin typeface="Franklin Gothic Medium" pitchFamily="34" charset="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endParaRPr lang="ru-RU" sz="2000">
              <a:latin typeface="Franklin Gothic Medium" pitchFamily="34" charset="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endParaRPr lang="ru-RU" sz="2000">
              <a:latin typeface="Franklin Gothic Medium" pitchFamily="34" charset="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endParaRPr lang="ru-RU" sz="2000">
              <a:latin typeface="Franklin Gothic Medium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7188" y="5653088"/>
            <a:ext cx="5727700" cy="595312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Должность Заместитель директора</a:t>
            </a:r>
          </a:p>
          <a:p>
            <a:pPr>
              <a:defRPr/>
            </a:pPr>
            <a:r>
              <a:rPr lang="ru-RU" sz="1600" b="1" dirty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Пронина Светлана Васильевн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47663" y="6357938"/>
            <a:ext cx="6786562" cy="280987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ОГБОУ «</a:t>
            </a:r>
            <a:r>
              <a:rPr lang="ru-RU" sz="1200" dirty="0" err="1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Шебекинская</a:t>
            </a:r>
            <a:r>
              <a:rPr lang="ru-RU" sz="1200" dirty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 СОШ с УИОП», </a:t>
            </a:r>
            <a:r>
              <a:rPr lang="ru-RU" sz="1200" dirty="0" smtClean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2021 </a:t>
            </a:r>
            <a:r>
              <a:rPr lang="ru-RU" sz="1200" dirty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год</a:t>
            </a:r>
          </a:p>
        </p:txBody>
      </p:sp>
      <p:sp>
        <p:nvSpPr>
          <p:cNvPr id="34822" name="TextBox 1"/>
          <p:cNvSpPr txBox="1">
            <a:spLocks noChangeArrowheads="1"/>
          </p:cNvSpPr>
          <p:nvPr/>
        </p:nvSpPr>
        <p:spPr bwMode="auto">
          <a:xfrm>
            <a:off x="827088" y="1557338"/>
            <a:ext cx="7489825" cy="84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 eaLnBrk="0" hangingPunct="0">
              <a:spcBef>
                <a:spcPts val="800"/>
              </a:spcBef>
              <a:buFont typeface="Arial" pitchFamily="34" charset="0"/>
              <a:defRPr sz="1600" b="1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ластное государственное бюджетное общеобразовательное учреждение «Шебекинская средняя общеобразовательная школа с углублённым изучением отдельных предметов» Белгород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390060640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28604"/>
            <a:ext cx="8648700" cy="63182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1015F"/>
                </a:solidFill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40435" y="1289718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76285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286248" y="1714488"/>
            <a:ext cx="1525372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делана разметка для 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вижения потоков детей по школе;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494344" y="1557022"/>
            <a:ext cx="103981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355976" y="1418034"/>
            <a:ext cx="10398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494344" y="1816716"/>
            <a:ext cx="18502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сечение потоков детей при движении в класс.</a:t>
            </a:r>
          </a:p>
        </p:txBody>
      </p:sp>
      <p:pic>
        <p:nvPicPr>
          <p:cNvPr id="32888" name="Picture 12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3587" y="1465769"/>
            <a:ext cx="1573213" cy="2097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3-5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500" y="1905000"/>
            <a:ext cx="130968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2" y="1522413"/>
            <a:ext cx="2192321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ое количество детей к первому уроку скапливается у входа в школу;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мин.)</a:t>
            </a:r>
            <a:endParaRPr lang="ru-RU" sz="1000" b="1" dirty="0">
              <a:solidFill>
                <a:srgbClr val="464646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72000" y="1285860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43306" y="3214686"/>
            <a:ext cx="906462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5</a:t>
            </a:r>
            <a:r>
              <a:rPr lang="ru-RU" sz="1400" b="1" dirty="0" smtClean="0">
                <a:solidFill>
                  <a:prstClr val="black"/>
                </a:solidFill>
              </a:rPr>
              <a:t>-7 </a:t>
            </a: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14282" y="3143248"/>
            <a:ext cx="2082800" cy="92869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ое количество родителей желают пообщаться с учителем</a:t>
            </a:r>
            <a:endParaRPr lang="ru-RU" dirty="0">
              <a:solidFill>
                <a:srgbClr val="000000"/>
              </a:solidFill>
              <a:latin typeface="Franklin Gothic Book" pitchFamily="34" charset="0"/>
              <a:ea typeface="Calibri" pitchFamily="34" charset="0"/>
              <a:cs typeface="Arial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мин</a:t>
            </a:r>
            <a:r>
              <a:rPr lang="ru-RU" sz="1000" b="1" dirty="0">
                <a:solidFill>
                  <a:srgbClr val="464646"/>
                </a:solidFill>
              </a:rPr>
              <a:t>.)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2285984" y="3571876"/>
            <a:ext cx="132873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0" y="6500834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572000" y="6500834"/>
            <a:ext cx="43719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025"/>
            <a:ext cx="9053513" cy="7651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43306" y="4983162"/>
            <a:ext cx="831857" cy="803291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-2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20663" y="4841875"/>
            <a:ext cx="2082800" cy="766763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копление детей в фойе у входа при проведении </a:t>
            </a:r>
            <a:r>
              <a:rPr lang="ru-RU" sz="10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термометрии</a:t>
            </a:r>
            <a:endParaRPr lang="ru-RU" altLang="ru-RU" sz="1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</a:t>
            </a:r>
            <a:r>
              <a:rPr lang="ru-RU" sz="1000" b="1" dirty="0">
                <a:solidFill>
                  <a:srgbClr val="464646"/>
                </a:solidFill>
              </a:rPr>
              <a:t>мин.)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303463" y="5300663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096250" y="144303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-5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14876" y="1428736"/>
            <a:ext cx="2389187" cy="912812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900" dirty="0" smtClean="0">
                <a:solidFill>
                  <a:prstClr val="black"/>
                </a:solidFill>
                <a:ea typeface="Calibri"/>
                <a:cs typeface="Times New Roman"/>
              </a:rPr>
              <a:t>Уменьшилось количество детей у входа</a:t>
            </a: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мин.)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072462" y="3071810"/>
            <a:ext cx="928694" cy="8572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-2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.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714876" y="3143248"/>
            <a:ext cx="2297113" cy="92869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900" dirty="0" smtClean="0">
                <a:solidFill>
                  <a:prstClr val="black"/>
                </a:solidFill>
                <a:ea typeface="Calibri"/>
                <a:cs typeface="Times New Roman"/>
              </a:rPr>
              <a:t>Уменьшилось количество родителей, общение происходит в </a:t>
            </a:r>
            <a:r>
              <a:rPr lang="ru-RU" sz="900" dirty="0" err="1" smtClean="0">
                <a:solidFill>
                  <a:prstClr val="black"/>
                </a:solidFill>
                <a:ea typeface="Calibri"/>
                <a:cs typeface="Times New Roman"/>
              </a:rPr>
              <a:t>соц</a:t>
            </a:r>
            <a:r>
              <a:rPr lang="ru-RU" sz="900" dirty="0" smtClean="0">
                <a:solidFill>
                  <a:prstClr val="black"/>
                </a:solidFill>
                <a:ea typeface="Calibri"/>
                <a:cs typeface="Times New Roman"/>
              </a:rPr>
              <a:t> сетях и по мобильной связи</a:t>
            </a: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мин.)</a:t>
            </a: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7072330" y="3571876"/>
            <a:ext cx="1022350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Блок-схема: узел 52"/>
          <p:cNvSpPr/>
          <p:nvPr/>
        </p:nvSpPr>
        <p:spPr>
          <a:xfrm>
            <a:off x="8143900" y="4929198"/>
            <a:ext cx="860400" cy="76201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0,1-0,2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4703763" y="4857760"/>
            <a:ext cx="2368567" cy="830253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900" dirty="0" smtClean="0">
                <a:solidFill>
                  <a:prstClr val="black"/>
                </a:solidFill>
                <a:ea typeface="Calibri"/>
                <a:cs typeface="Times New Roman"/>
              </a:rPr>
              <a:t>Отсутствует скопление детей при проведении термометрии</a:t>
            </a: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50" b="1" dirty="0" smtClean="0">
                <a:solidFill>
                  <a:srgbClr val="464646"/>
                </a:solidFill>
              </a:rPr>
              <a:t>(</a:t>
            </a:r>
            <a:r>
              <a:rPr lang="ru-RU" sz="1550" b="1" dirty="0">
                <a:solidFill>
                  <a:srgbClr val="464646"/>
                </a:solidFill>
              </a:rPr>
              <a:t>мин.)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143768" y="5286388"/>
            <a:ext cx="1011238" cy="7938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/>
          </p:cNvPr>
          <p:cNvSpPr/>
          <p:nvPr/>
        </p:nvSpPr>
        <p:spPr>
          <a:xfrm>
            <a:off x="0" y="476250"/>
            <a:ext cx="9144000" cy="6337300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425"/>
            <a:ext cx="436562" cy="365125"/>
          </a:xfrm>
        </p:spPr>
        <p:txBody>
          <a:bodyPr rtlCol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1</a:t>
            </a:r>
            <a:endParaRPr lang="ru-RU" sz="1400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250825" y="739775"/>
            <a:ext cx="13208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932363" y="649288"/>
            <a:ext cx="12763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38" name="TextBox 31"/>
          <p:cNvSpPr txBox="1">
            <a:spLocks noChangeArrowheads="1"/>
          </p:cNvSpPr>
          <p:nvPr/>
        </p:nvSpPr>
        <p:spPr bwMode="auto">
          <a:xfrm>
            <a:off x="0" y="1000108"/>
            <a:ext cx="423624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 dirty="0" smtClean="0">
                <a:solidFill>
                  <a:srgbClr val="000000"/>
                </a:solidFill>
                <a:latin typeface="Franklin Gothic Medium" pitchFamily="34" charset="0"/>
              </a:rPr>
              <a:t>Большие временные затраты на </a:t>
            </a:r>
            <a:r>
              <a:rPr lang="ru-RU" altLang="ru-RU" sz="1000" dirty="0" smtClean="0">
                <a:solidFill>
                  <a:srgbClr val="000000"/>
                </a:solidFill>
                <a:latin typeface="Franklin Gothic Medium" pitchFamily="34" charset="0"/>
              </a:rPr>
              <a:t>утренний прием детей в условиях пандемии</a:t>
            </a:r>
            <a:endParaRPr lang="ru-RU" altLang="ru-RU" sz="1000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39" name="TextBox 31"/>
          <p:cNvSpPr txBox="1">
            <a:spLocks noChangeArrowheads="1"/>
          </p:cNvSpPr>
          <p:nvPr/>
        </p:nvSpPr>
        <p:spPr bwMode="auto">
          <a:xfrm>
            <a:off x="4643438" y="1000108"/>
            <a:ext cx="4236243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lvl="0" algn="ctr">
              <a:buNone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Оптимизация процесса утреннего приема детей в школу в условиях </a:t>
            </a:r>
            <a:r>
              <a:rPr lang="en-US" altLang="ru-RU" sz="1100" cap="all" dirty="0">
                <a:solidFill>
                  <a:srgbClr val="0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covid-19</a:t>
            </a: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3</a:t>
            </a:r>
            <a:r>
              <a:rPr lang="ru-RU" sz="1400" b="1" dirty="0" smtClean="0">
                <a:solidFill>
                  <a:prstClr val="black"/>
                </a:solidFill>
              </a:rPr>
              <a:t> – 7 мин</a:t>
            </a: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500" y="1905000"/>
            <a:ext cx="130968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2" y="1522413"/>
            <a:ext cx="2192321" cy="1192207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копление детей при переодевании в </a:t>
            </a:r>
            <a:r>
              <a:rPr lang="ru-RU" sz="1000" b="1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гардеробе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464646"/>
                </a:solidFill>
              </a:rPr>
              <a:t>(мин</a:t>
            </a:r>
            <a:r>
              <a:rPr lang="ru-RU" sz="1600" b="1" dirty="0">
                <a:solidFill>
                  <a:srgbClr val="464646"/>
                </a:solidFill>
              </a:rPr>
              <a:t>.)</a:t>
            </a:r>
          </a:p>
          <a:p>
            <a:pPr lvl="0" algn="ctr">
              <a:lnSpc>
                <a:spcPct val="115000"/>
              </a:lnSpc>
            </a:pP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72000" y="1285860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585744" y="4156798"/>
            <a:ext cx="906462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3-5 мин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14282" y="4070276"/>
            <a:ext cx="2082800" cy="928694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сечение потоков детей при движении в класс.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464646"/>
                </a:solidFill>
              </a:rPr>
              <a:t>(мин</a:t>
            </a:r>
            <a:r>
              <a:rPr lang="ru-RU" sz="1000" b="1" dirty="0">
                <a:solidFill>
                  <a:srgbClr val="464646"/>
                </a:solidFill>
              </a:rPr>
              <a:t>.)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2329625" y="4534623"/>
            <a:ext cx="132873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42844" y="2857496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27401" y="5805264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458411" y="5805264"/>
            <a:ext cx="43719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025"/>
            <a:ext cx="9053513" cy="7651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6" name="Блок-схема: узел 45"/>
          <p:cNvSpPr/>
          <p:nvPr/>
        </p:nvSpPr>
        <p:spPr>
          <a:xfrm>
            <a:off x="8096250" y="144303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2-3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14876" y="1428736"/>
            <a:ext cx="2389187" cy="1214446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algn="ctr">
              <a:lnSpc>
                <a:spcPct val="115000"/>
              </a:lnSpc>
            </a:pPr>
            <a:r>
              <a:rPr lang="ru-RU" sz="1000" b="1" dirty="0" smtClean="0">
                <a:solidFill>
                  <a:srgbClr val="464646"/>
                </a:solidFill>
              </a:rPr>
              <a:t>Отсутствует скопление детей в гардеробе</a:t>
            </a:r>
            <a:endParaRPr lang="ru-RU" sz="1000" dirty="0">
              <a:solidFill>
                <a:srgbClr val="000000"/>
              </a:solidFill>
              <a:latin typeface="Franklin Gothic Book"/>
              <a:ea typeface="Calibri"/>
              <a:cs typeface="Times New Roman"/>
            </a:endParaRPr>
          </a:p>
          <a:p>
            <a:pPr lvl="0"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</a:t>
            </a:r>
            <a:r>
              <a:rPr lang="ru-RU" sz="1600" b="1" dirty="0">
                <a:solidFill>
                  <a:srgbClr val="464646"/>
                </a:solidFill>
              </a:rPr>
              <a:t>мин.)</a:t>
            </a:r>
          </a:p>
          <a:p>
            <a:pPr lvl="0" algn="ctr">
              <a:lnSpc>
                <a:spcPct val="115000"/>
              </a:lnSpc>
            </a:pPr>
            <a:endParaRPr lang="ru-RU" sz="9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500562" y="2857496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096250" y="4033077"/>
            <a:ext cx="928694" cy="857256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,5-2</a:t>
            </a:r>
            <a:endParaRPr lang="ru-RU" sz="1400" b="1" dirty="0">
              <a:solidFill>
                <a:prstClr val="black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</a:rPr>
              <a:t>мин.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714876" y="3871930"/>
            <a:ext cx="2297113" cy="1127040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sz="1100" dirty="0" smtClean="0">
              <a:solidFill>
                <a:srgbClr val="000000"/>
              </a:solidFill>
              <a:latin typeface="Franklin Gothic Book"/>
              <a:ea typeface="Calibri"/>
              <a:cs typeface="Times New Roman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srgbClr val="000000"/>
                </a:solidFill>
                <a:latin typeface="Franklin Gothic Book"/>
                <a:ea typeface="Calibri"/>
                <a:cs typeface="Times New Roman"/>
              </a:rPr>
              <a:t>Прекратилось пересечение потоков детей при движении</a:t>
            </a:r>
            <a:endParaRPr lang="ru-RU" altLang="ru-RU" sz="1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>
              <a:lnSpc>
                <a:spcPct val="115000"/>
              </a:lnSpc>
            </a:pPr>
            <a:r>
              <a:rPr lang="ru-RU" sz="1100" dirty="0" smtClean="0">
                <a:solidFill>
                  <a:srgbClr val="000000"/>
                </a:solidFill>
                <a:latin typeface="Franklin Gothic Book"/>
                <a:ea typeface="Calibri"/>
                <a:cs typeface="Times New Roman"/>
              </a:rPr>
              <a:t> </a:t>
            </a:r>
            <a:endParaRPr lang="ru-RU" sz="1100" dirty="0">
              <a:solidFill>
                <a:srgbClr val="000000"/>
              </a:solidFill>
              <a:latin typeface="Franklin Gothic Book"/>
              <a:ea typeface="Calibri"/>
              <a:cs typeface="Times New Roman"/>
            </a:endParaRPr>
          </a:p>
          <a:p>
            <a:pPr algn="ctr">
              <a:defRPr/>
            </a:pPr>
            <a:r>
              <a:rPr lang="ru-RU" sz="1600" b="1" dirty="0" smtClean="0">
                <a:solidFill>
                  <a:srgbClr val="464646"/>
                </a:solidFill>
              </a:rPr>
              <a:t>(мин.)</a:t>
            </a:r>
            <a:endParaRPr lang="ru-RU" sz="1600" b="1" dirty="0">
              <a:solidFill>
                <a:srgbClr val="464646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7104063" y="4461705"/>
            <a:ext cx="1022350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/>
          </p:cNvPr>
          <p:cNvSpPr/>
          <p:nvPr/>
        </p:nvSpPr>
        <p:spPr>
          <a:xfrm>
            <a:off x="0" y="476250"/>
            <a:ext cx="9144000" cy="6337300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425"/>
            <a:ext cx="436562" cy="365125"/>
          </a:xfrm>
        </p:spPr>
        <p:txBody>
          <a:bodyPr rtlCol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t>12</a:t>
            </a:r>
            <a:endParaRPr lang="ru-RU" sz="1400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250825" y="739775"/>
            <a:ext cx="13208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932363" y="649288"/>
            <a:ext cx="12763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7" name="TextBox 31"/>
          <p:cNvSpPr txBox="1">
            <a:spLocks noChangeArrowheads="1"/>
          </p:cNvSpPr>
          <p:nvPr/>
        </p:nvSpPr>
        <p:spPr bwMode="auto">
          <a:xfrm>
            <a:off x="0" y="1000108"/>
            <a:ext cx="423624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lvl="0" algn="ctr" eaLnBrk="1" hangingPunct="1">
              <a:spcBef>
                <a:spcPct val="0"/>
              </a:spcBef>
              <a:buClrTx/>
              <a:buSzTx/>
              <a:buNone/>
            </a:pPr>
            <a:r>
              <a:rPr lang="ru-RU" altLang="ru-RU" sz="1000" dirty="0">
                <a:solidFill>
                  <a:srgbClr val="000000"/>
                </a:solidFill>
                <a:latin typeface="Franklin Gothic Medium" pitchFamily="34" charset="0"/>
              </a:rPr>
              <a:t>Большие временные затраты на утренний прием детей в условиях пандемии</a:t>
            </a:r>
            <a:endParaRPr lang="ru-RU" altLang="ru-RU" sz="1000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28" name="TextBox 31"/>
          <p:cNvSpPr txBox="1">
            <a:spLocks noChangeArrowheads="1"/>
          </p:cNvSpPr>
          <p:nvPr/>
        </p:nvSpPr>
        <p:spPr bwMode="auto">
          <a:xfrm>
            <a:off x="4780929" y="1000108"/>
            <a:ext cx="4236243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lvl="0" algn="ctr" eaLnBrk="1" hangingPunct="1">
              <a:spcBef>
                <a:spcPts val="0"/>
              </a:spcBef>
              <a:buClrTx/>
              <a:buSzTx/>
              <a:buNone/>
            </a:pPr>
            <a:r>
              <a:rPr lang="ru-RU" sz="11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утреннего приема детей в школу в условиях </a:t>
            </a:r>
            <a:r>
              <a:rPr lang="en-US" altLang="ru-RU" sz="1100" cap="all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endParaRPr lang="ru-RU" sz="11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01015F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58797" y="1507030"/>
            <a:ext cx="3600400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latin typeface="Arial Narrow" panose="020B0606020202030204" pitchFamily="34" charset="0"/>
                <a:cs typeface="Times New Roman" pitchFamily="18" charset="0"/>
              </a:rPr>
              <a:t>ЭФФЕКТ</a:t>
            </a:r>
            <a:r>
              <a:rPr lang="ru-RU" altLang="ru-RU" b="1" dirty="0"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2"/>
                </a:solidFill>
              </a:rPr>
              <a:t>Сокращение временных потерь;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solidFill>
                <a:srgbClr val="01015F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solidFill>
                <a:srgbClr val="01015F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/>
            <a:r>
              <a:rPr lang="ru-RU" sz="1400" dirty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Оптимизация процесса утреннего приема детей в школу в условиях </a:t>
            </a:r>
            <a:r>
              <a:rPr lang="en-US" altLang="ru-RU" sz="1400" cap="all" dirty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covid-19</a:t>
            </a:r>
            <a:endParaRPr lang="ru-RU" altLang="ru-RU" sz="1400" i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1899" y="1998132"/>
            <a:ext cx="648072" cy="432048"/>
          </a:xfrm>
          <a:prstGeom prst="downArrow">
            <a:avLst/>
          </a:prstGeom>
          <a:solidFill>
            <a:schemeClr val="accent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579199" y="3044752"/>
            <a:ext cx="648072" cy="432048"/>
          </a:xfrm>
          <a:prstGeom prst="downArrow">
            <a:avLst/>
          </a:prstGeom>
          <a:solidFill>
            <a:schemeClr val="accent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412776"/>
            <a:ext cx="1584176" cy="129614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403648" y="1628800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63%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03648" y="3563724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18 мин.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latin typeface="Arial Narrow" panose="020B0606020202030204" pitchFamily="34" charset="0"/>
              </a:rPr>
              <a:t>t</a:t>
            </a:r>
            <a:r>
              <a:rPr lang="ru-RU" i="1" dirty="0" smtClean="0">
                <a:latin typeface="Arial Narrow" panose="020B0606020202030204" pitchFamily="34" charset="0"/>
              </a:rPr>
              <a:t> протекания процесса</a:t>
            </a:r>
            <a:endParaRPr lang="ru-RU" i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260649"/>
            <a:ext cx="8648700" cy="792087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latin typeface="Times New Roman" panose="02020603050405020304" pitchFamily="18" charset="0"/>
                <a:cs typeface="Times New Roman" pitchFamily="18" charset="0"/>
              </a:rPr>
              <a:t>Паспорт проекта 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утреннего приема детей в школу в условиях </a:t>
            </a:r>
            <a:r>
              <a:rPr lang="en-US" altLang="ru-RU" sz="1400" cap="all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vid-19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2" y="1071547"/>
            <a:ext cx="8624917" cy="174093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06513" y="2888709"/>
            <a:ext cx="8608547" cy="1560563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</a:pPr>
            <a:endParaRPr lang="ru-RU" altLang="en-US" sz="1100" dirty="0">
              <a:solidFill>
                <a:prstClr val="black"/>
              </a:solidFill>
              <a:latin typeface="Times New Roman" pitchFamily="18" charset="0"/>
              <a:ea typeface="Franklin Gothic Book" pitchFamily="34" charset="0"/>
              <a:cs typeface="Times New Roman" pitchFamily="18" charset="0"/>
            </a:endParaRPr>
          </a:p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269875" algn="l"/>
              </a:tabLst>
            </a:pPr>
            <a:r>
              <a:rPr lang="ru-RU" altLang="en-US" sz="1100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1. Наличие </a:t>
            </a:r>
            <a:r>
              <a:rPr lang="ru-RU" altLang="ru-RU" sz="1200" dirty="0" err="1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короновирусной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инфекции;</a:t>
            </a:r>
          </a:p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269875" algn="l"/>
              </a:tabLs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    2. Необходимость выполнения требований </a:t>
            </a:r>
            <a:r>
              <a:rPr lang="ru-RU" altLang="ru-RU" sz="1200" dirty="0" err="1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Роспотребнадзора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;</a:t>
            </a:r>
          </a:p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269875" algn="l"/>
              </a:tabLs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    3. Большое количество детей в школе;</a:t>
            </a:r>
          </a:p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269875" algn="l"/>
              </a:tabLst>
            </a:pP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    4. Ежедневно происходящий процесс;</a:t>
            </a:r>
            <a:endParaRPr lang="ru-RU" altLang="ru-RU" sz="11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60350" y="1309688"/>
            <a:ext cx="177003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54000" y="4462391"/>
            <a:ext cx="8600020" cy="895436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2894625"/>
            <a:ext cx="25753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Обоснование выбора процесса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312444" y="4462390"/>
            <a:ext cx="15247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071546"/>
            <a:ext cx="4689227" cy="15542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Наименование органа местного  самоуправления</a:t>
            </a:r>
            <a:r>
              <a:rPr lang="ru-RU" sz="1200" dirty="0" smtClean="0">
                <a:solidFill>
                  <a:schemeClr val="tx2"/>
                </a:solidFill>
              </a:rPr>
              <a:t>: МКУ «Управление образования </a:t>
            </a:r>
            <a:r>
              <a:rPr lang="ru-RU" sz="1200" dirty="0" err="1" smtClean="0">
                <a:solidFill>
                  <a:schemeClr val="tx2"/>
                </a:solidFill>
              </a:rPr>
              <a:t>Шебекинского</a:t>
            </a:r>
            <a:r>
              <a:rPr lang="ru-RU" sz="1200" dirty="0" smtClean="0">
                <a:solidFill>
                  <a:schemeClr val="tx2"/>
                </a:solidFill>
              </a:rPr>
              <a:t> городского округа».</a:t>
            </a:r>
          </a:p>
          <a:p>
            <a:pPr lvl="0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Наименование отдела</a:t>
            </a:r>
            <a:r>
              <a:rPr lang="ru-RU" sz="1200" dirty="0" smtClean="0">
                <a:solidFill>
                  <a:schemeClr val="tx2"/>
                </a:solidFill>
              </a:rPr>
              <a:t>: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БОУ «</a:t>
            </a:r>
            <a:r>
              <a:rPr lang="ru-RU" sz="1200" dirty="0" err="1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бекинская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Ш с УИОП», </a:t>
            </a:r>
            <a:r>
              <a:rPr lang="ru-RU" sz="12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</a:pPr>
            <a:r>
              <a:rPr lang="ru-RU" sz="1200" b="1" dirty="0" smtClean="0">
                <a:solidFill>
                  <a:schemeClr val="tx2"/>
                </a:solidFill>
              </a:rPr>
              <a:t>Границы процесса: </a:t>
            </a:r>
            <a:r>
              <a:rPr lang="ru-RU" sz="1100" dirty="0" smtClean="0">
                <a:solidFill>
                  <a:schemeClr val="tx2"/>
                </a:solidFill>
                <a:cs typeface="Times New Roman" pitchFamily="18" charset="0"/>
              </a:rPr>
              <a:t>от появления ребёнка на пороге школы до входа ребёнка в  учебный кабинет</a:t>
            </a:r>
            <a:endParaRPr lang="ru-RU" altLang="en-US" sz="1100" dirty="0">
              <a:solidFill>
                <a:schemeClr val="tx2"/>
              </a:solidFill>
              <a:ea typeface="Franklin Gothic Book" pitchFamily="34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Дата начала  проекта:   </a:t>
            </a:r>
            <a:r>
              <a:rPr lang="ru-RU" sz="1200" dirty="0" smtClean="0">
                <a:solidFill>
                  <a:schemeClr val="tx2"/>
                </a:solidFill>
              </a:rPr>
              <a:t>01.03.2021 г.</a:t>
            </a:r>
          </a:p>
          <a:p>
            <a:pPr algn="just"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Дата окончания проекта: </a:t>
            </a:r>
            <a:r>
              <a:rPr lang="ru-RU" sz="1200" dirty="0" smtClean="0">
                <a:solidFill>
                  <a:schemeClr val="tx2"/>
                </a:solidFill>
              </a:rPr>
              <a:t>31.05.2021г.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9634" y="4372588"/>
            <a:ext cx="8042304" cy="136992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34925" lvl="0"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34925"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1015F"/>
                </a:solidFill>
              </a:rPr>
              <a:t>           </a:t>
            </a:r>
          </a:p>
          <a:p>
            <a:pPr lvl="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400" dirty="0" smtClean="0">
                <a:solidFill>
                  <a:srgbClr val="01015F"/>
                </a:solidFill>
              </a:rPr>
              <a:t> 1.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Сокращение времени процесса утреннего приёма детей в </a:t>
            </a: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школу с 13 – 24 до 3,7 – 5,8 мин</a:t>
            </a:r>
            <a:endParaRPr lang="ru-RU" altLang="ru-RU" sz="1200" dirty="0">
              <a:solidFill>
                <a:srgbClr val="000000"/>
              </a:solidFill>
              <a:latin typeface="Times New Roman" pitchFamily="18" charset="0"/>
              <a:ea typeface="Microsoft YaHei" pitchFamily="34" charset="-122"/>
              <a:cs typeface="Times New Roman" pitchFamily="18" charset="0"/>
            </a:endParaRPr>
          </a:p>
          <a:p>
            <a:pPr marL="34925" lvl="0" algn="just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chemeClr val="tx2"/>
              </a:solidFill>
              <a:ea typeface="Franklin Gothic Book" pitchFamily="34" charset="0"/>
              <a:cs typeface="Times New Roman" pitchFamily="18" charset="0"/>
            </a:endParaRPr>
          </a:p>
          <a:p>
            <a:pPr marL="34925"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schemeClr val="tx2"/>
                </a:solidFill>
                <a:ea typeface="Franklin Gothic Book" pitchFamily="34" charset="0"/>
                <a:cs typeface="Times New Roman" pitchFamily="18" charset="0"/>
              </a:rPr>
              <a:t> .</a:t>
            </a:r>
          </a:p>
          <a:p>
            <a:pPr lvl="0" algn="just"/>
            <a:r>
              <a:rPr lang="ru-RU" sz="1400" dirty="0" smtClean="0">
                <a:solidFill>
                  <a:srgbClr val="01015F"/>
                </a:solidFill>
              </a:rPr>
              <a:t>.</a:t>
            </a:r>
            <a:endParaRPr lang="ru-RU" sz="1400" dirty="0">
              <a:solidFill>
                <a:srgbClr val="01015F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06513" y="5429264"/>
            <a:ext cx="8647507" cy="116808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755576" y="5550874"/>
            <a:ext cx="180020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  <a:latin typeface="+mn-lt"/>
              </a:rPr>
              <a:t>Эффекты  </a:t>
            </a:r>
            <a:r>
              <a:rPr lang="ru-RU" sz="1400" dirty="0">
                <a:solidFill>
                  <a:srgbClr val="FF0000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98008" y="5550873"/>
            <a:ext cx="7718323" cy="746038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                                 </a:t>
            </a:r>
          </a:p>
          <a:p>
            <a:pPr lvl="0" defTabSz="449263" fontAlgn="base" hangingPunct="0">
              <a:lnSpc>
                <a:spcPct val="104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altLang="en-US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altLang="ru-RU" sz="12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Созданный алгоритм утреннего приема детей в школу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400" dirty="0" smtClean="0">
                <a:solidFill>
                  <a:schemeClr val="tx2"/>
                </a:solidFill>
                <a:cs typeface="Times New Roman" pitchFamily="18" charset="0"/>
              </a:rPr>
              <a:t> </a:t>
            </a:r>
            <a:endParaRPr lang="ru-RU" altLang="en-US" sz="1400" dirty="0">
              <a:solidFill>
                <a:schemeClr val="tx2"/>
              </a:solidFill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98009" y="1668809"/>
            <a:ext cx="1409696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7158401" y="1494141"/>
            <a:ext cx="1373637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pPr/>
              <a:t>2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/>
            </a:extLst>
          </p:cNvPr>
          <p:cNvSpPr txBox="1"/>
          <p:nvPr/>
        </p:nvSpPr>
        <p:spPr>
          <a:xfrm>
            <a:off x="283415" y="4464923"/>
            <a:ext cx="145189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FF0000"/>
                </a:solidFill>
              </a:rPr>
              <a:t>Цель проекта</a:t>
            </a:r>
            <a:endParaRPr lang="ru-RU" sz="1400" dirty="0">
              <a:solidFill>
                <a:srgbClr val="FF0000"/>
              </a:solidFill>
            </a:endParaRPr>
          </a:p>
        </p:txBody>
      </p:sp>
      <p:pic>
        <p:nvPicPr>
          <p:cNvPr id="33796" name="Picture 4" descr="C:\Users\User\Desktop\зам по МР\опорная площадка\КЕЙС СОШ 1\IMG_597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89" y="1600339"/>
            <a:ext cx="1408516" cy="99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8400" y="1494141"/>
            <a:ext cx="1373637" cy="1202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330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46448" y="3989388"/>
            <a:ext cx="8621712" cy="27574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4282" y="1000108"/>
            <a:ext cx="8637588" cy="27169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1306513"/>
            <a:ext cx="1644650" cy="5847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FF0000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23850" y="3989388"/>
            <a:ext cx="201234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0000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01015F"/>
                </a:solidFill>
                <a:latin typeface="Times New Roman" pitchFamily="18" charset="0"/>
                <a:cs typeface="Times New Roman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863315" y="3366282"/>
            <a:ext cx="1822994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Вялов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Ирина Анатольев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директор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857488" y="1142984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b="1" kern="0" dirty="0" smtClean="0">
                <a:solidFill>
                  <a:srgbClr val="01015F"/>
                </a:solidFill>
              </a:rPr>
              <a:t>Заказчик проекта</a:t>
            </a:r>
            <a:endParaRPr lang="en-US" altLang="ru-RU" sz="1000" b="1" kern="0" dirty="0" smtClean="0">
              <a:solidFill>
                <a:srgbClr val="01015F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500694" y="3357562"/>
            <a:ext cx="236200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1015F"/>
                </a:solidFill>
              </a:rPr>
              <a:t>Пронина Светлана Васильевна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>
                <a:solidFill>
                  <a:srgbClr val="01015F"/>
                </a:solidFill>
              </a:rPr>
              <a:t>з</a:t>
            </a:r>
            <a:r>
              <a:rPr lang="ru-RU" altLang="ru-RU" sz="1000" b="1" kern="0" dirty="0" smtClean="0">
                <a:solidFill>
                  <a:srgbClr val="01015F"/>
                </a:solidFill>
              </a:rPr>
              <a:t>аместитель директора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357818" y="1142984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b="1" kern="0" dirty="0" smtClean="0">
                <a:solidFill>
                  <a:srgbClr val="01015F"/>
                </a:solidFill>
              </a:rPr>
              <a:t>Руководитель проекта</a:t>
            </a:r>
            <a:endParaRPr lang="en-US" altLang="ru-RU" sz="1000" b="1" kern="0" dirty="0" smtClean="0">
              <a:solidFill>
                <a:srgbClr val="01015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pPr/>
              <a:t>3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pic>
        <p:nvPicPr>
          <p:cNvPr id="33794" name="Picture 2" descr="C:\Users\User\Desktop\зам по МР\опорная площадка\НОВЫЕ ПРОЕКТЫ 2020 год\НОВЫЕ ПРОЕКТЫ 2020 год\КЕЙСЫ НоВЫХ ПРОЕКТОВ\ира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0763" y="1391452"/>
            <a:ext cx="1351737" cy="177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5" name="Picture 3" descr="C:\Users\User\Desktop\зам по МР\опорная площадка\НОВЫЕ ПРОЕКТЫ 2020 год\НОВЫЕ ПРОЕКТЫ 2020 год\КЕЙСЫ НоВЫХ ПРОЕКТОВ\IMG_477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889" y="1387927"/>
            <a:ext cx="1277612" cy="1757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132" y="4477451"/>
            <a:ext cx="1071123" cy="1423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 descr="C:\Users\User\Desktop\зам по МР\опорная площадка\Реализованные проекты\КЕЙСЫ НоВЫХ ПРОЕКТОВ\1 кейс\IMG_4779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74" y="4392727"/>
            <a:ext cx="1041102" cy="150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821" y="4297165"/>
            <a:ext cx="1158875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1" y="4425808"/>
            <a:ext cx="1431925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28973" y="6010133"/>
            <a:ext cx="13428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Захарченко Н.В., заместитель директора </a:t>
            </a:r>
            <a:endParaRPr lang="ru-RU" sz="1000" dirty="0"/>
          </a:p>
        </p:txBody>
      </p:sp>
      <p:sp>
        <p:nvSpPr>
          <p:cNvPr id="8" name="TextBox 7"/>
          <p:cNvSpPr txBox="1"/>
          <p:nvPr/>
        </p:nvSpPr>
        <p:spPr>
          <a:xfrm>
            <a:off x="2857488" y="6036650"/>
            <a:ext cx="127422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000" dirty="0" smtClean="0">
                <a:solidFill>
                  <a:prstClr val="black"/>
                </a:solidFill>
              </a:rPr>
              <a:t>Гончарова Н.В</a:t>
            </a:r>
            <a:r>
              <a:rPr lang="ru-RU" sz="1000" dirty="0">
                <a:solidFill>
                  <a:prstClr val="black"/>
                </a:solidFill>
              </a:rPr>
              <a:t>., заместитель директора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76056" y="6165304"/>
            <a:ext cx="1152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000" dirty="0" smtClean="0">
                <a:solidFill>
                  <a:prstClr val="black"/>
                </a:solidFill>
              </a:rPr>
              <a:t>Савченко Л.И., учитель</a:t>
            </a:r>
            <a:endParaRPr lang="ru-RU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703821" y="6165304"/>
            <a:ext cx="14685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иненко Н.Б., учитель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45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Заголовок 1"/>
          <p:cNvSpPr txBox="1">
            <a:spLocks/>
          </p:cNvSpPr>
          <p:nvPr/>
        </p:nvSpPr>
        <p:spPr>
          <a:xfrm>
            <a:off x="571500" y="285750"/>
            <a:ext cx="8229600" cy="295275"/>
          </a:xfrm>
          <a:prstGeom prst="rect">
            <a:avLst/>
          </a:prstGeom>
        </p:spPr>
        <p:txBody>
          <a:bodyPr lIns="0" tIns="45716" rIns="0" bIns="0" anchor="b"/>
          <a:lstStyle/>
          <a:p>
            <a:pPr algn="ctr">
              <a:spcBef>
                <a:spcPct val="0"/>
              </a:spcBef>
              <a:defRPr/>
            </a:pPr>
            <a:endParaRPr lang="ru-RU" sz="2000" b="1" dirty="0">
              <a:solidFill>
                <a:srgbClr val="434342"/>
              </a:solidFill>
              <a:latin typeface="Franklin Gothic Medium"/>
              <a:cs typeface="Arial" pitchFamily="34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2784475" y="1874838"/>
          <a:ext cx="1439863" cy="1387476"/>
        </p:xfrm>
        <a:graphic>
          <a:graphicData uri="http://schemas.openxmlformats.org/drawingml/2006/table">
            <a:tbl>
              <a:tblPr/>
              <a:tblGrid>
                <a:gridCol w="1439863"/>
              </a:tblGrid>
              <a:tr h="502887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дработник у входа</a:t>
                      </a: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783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Проводит термометрию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62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1-2 </a:t>
                      </a:r>
                      <a:r>
                        <a:rPr lang="ru-RU" sz="11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минуты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/>
        </p:nvGraphicFramePr>
        <p:xfrm>
          <a:off x="4859338" y="1830388"/>
          <a:ext cx="1320800" cy="1200150"/>
        </p:xfrm>
        <a:graphic>
          <a:graphicData uri="http://schemas.openxmlformats.org/drawingml/2006/table">
            <a:tbl>
              <a:tblPr/>
              <a:tblGrid>
                <a:gridCol w="1320800"/>
              </a:tblGrid>
              <a:tr h="446074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учающийся, </a:t>
                      </a:r>
                    </a:p>
                  </a:txBody>
                  <a:tcPr marL="68616" marR="6861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9193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Раздеваются</a:t>
                      </a:r>
                      <a:r>
                        <a:rPr lang="ru-RU" sz="1100" baseline="0" dirty="0" smtClean="0">
                          <a:latin typeface="+mn-lt"/>
                          <a:ea typeface="Calibri"/>
                          <a:cs typeface="Times New Roman"/>
                        </a:rPr>
                        <a:t> в раздевалке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6" marR="6861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21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3-7 минут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6" marR="6861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2" name="Таблица 61"/>
          <p:cNvGraphicFramePr>
            <a:graphicFrameLocks noGrp="1"/>
          </p:cNvGraphicFramePr>
          <p:nvPr/>
        </p:nvGraphicFramePr>
        <p:xfrm>
          <a:off x="6853238" y="1857375"/>
          <a:ext cx="1547812" cy="1279524"/>
        </p:xfrm>
        <a:graphic>
          <a:graphicData uri="http://schemas.openxmlformats.org/drawingml/2006/table">
            <a:tbl>
              <a:tblPr/>
              <a:tblGrid>
                <a:gridCol w="1547812"/>
              </a:tblGrid>
              <a:tr h="5785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ащиеся</a:t>
                      </a:r>
                    </a:p>
                  </a:txBody>
                  <a:tcPr marL="68619" marR="6861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959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Идут в класс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9" marR="6861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506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5</a:t>
                      </a:r>
                      <a:r>
                        <a:rPr lang="ru-RU" sz="11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минуты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19" marR="6861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14" name="Скругленный прямоугольник 113"/>
          <p:cNvSpPr/>
          <p:nvPr/>
        </p:nvSpPr>
        <p:spPr>
          <a:xfrm>
            <a:off x="5559425" y="4738688"/>
            <a:ext cx="2376488" cy="36036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0C515A"/>
                </a:solidFill>
              </a:rPr>
              <a:t>ВПП (время протекания процесса) 13–24 минуты</a:t>
            </a:r>
          </a:p>
        </p:txBody>
      </p:sp>
      <p:sp>
        <p:nvSpPr>
          <p:cNvPr id="29" name="Пятно 1 28"/>
          <p:cNvSpPr/>
          <p:nvPr/>
        </p:nvSpPr>
        <p:spPr>
          <a:xfrm>
            <a:off x="5528197" y="1269818"/>
            <a:ext cx="1012155" cy="801954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4351338" y="2405063"/>
            <a:ext cx="376237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6319838" y="2239963"/>
            <a:ext cx="428625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28600" y="4198938"/>
            <a:ext cx="376238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2622550" y="4373563"/>
            <a:ext cx="376238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 rot="16200000">
            <a:off x="2662479" y="4018957"/>
            <a:ext cx="1314509" cy="469186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ln w="1905"/>
                <a:gradFill>
                  <a:gsLst>
                    <a:gs pos="0">
                      <a:srgbClr val="506E94">
                        <a:shade val="20000"/>
                        <a:satMod val="200000"/>
                      </a:srgbClr>
                    </a:gs>
                    <a:gs pos="78000">
                      <a:srgbClr val="506E94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506E94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выход</a:t>
            </a:r>
          </a:p>
        </p:txBody>
      </p:sp>
      <p:sp>
        <p:nvSpPr>
          <p:cNvPr id="50" name="Заголовок 1"/>
          <p:cNvSpPr txBox="1">
            <a:spLocks/>
          </p:cNvSpPr>
          <p:nvPr/>
        </p:nvSpPr>
        <p:spPr>
          <a:xfrm>
            <a:off x="142875" y="285750"/>
            <a:ext cx="8686800" cy="785813"/>
          </a:xfrm>
          <a:prstGeom prst="rect">
            <a:avLst/>
          </a:prstGeom>
        </p:spPr>
        <p:txBody>
          <a:bodyPr lIns="91430" tIns="45716" rIns="91430" bIns="45716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>
                <a:solidFill>
                  <a:srgbClr val="000000"/>
                </a:solidFill>
              </a:rPr>
              <a:t>Введение в предметную область</a:t>
            </a:r>
            <a:br>
              <a:rPr lang="ru-RU" sz="2000" b="1" dirty="0">
                <a:solidFill>
                  <a:srgbClr val="000000"/>
                </a:solidFill>
              </a:rPr>
            </a:br>
            <a:r>
              <a:rPr lang="ru-RU" sz="2000" b="1" dirty="0">
                <a:solidFill>
                  <a:srgbClr val="000000"/>
                </a:solidFill>
              </a:rPr>
              <a:t>(описание ситуации «как есть»)</a:t>
            </a:r>
            <a:r>
              <a:rPr lang="ru-RU" sz="3000" b="1" dirty="0">
                <a:solidFill>
                  <a:srgbClr val="000000"/>
                </a:solidFill>
              </a:rPr>
              <a:t/>
            </a:r>
            <a:br>
              <a:rPr lang="ru-RU" sz="3000" b="1" dirty="0">
                <a:solidFill>
                  <a:srgbClr val="000000"/>
                </a:solidFill>
              </a:rPr>
            </a:br>
            <a:endParaRPr lang="ru-RU" sz="3000" b="1" dirty="0">
              <a:solidFill>
                <a:srgbClr val="000000"/>
              </a:solidFill>
            </a:endParaRPr>
          </a:p>
        </p:txBody>
      </p:sp>
      <p:sp>
        <p:nvSpPr>
          <p:cNvPr id="37931" name="Прямоугольник 51"/>
          <p:cNvSpPr>
            <a:spLocks noChangeArrowheads="1"/>
          </p:cNvSpPr>
          <p:nvPr/>
        </p:nvSpPr>
        <p:spPr bwMode="auto">
          <a:xfrm>
            <a:off x="4714875" y="357188"/>
            <a:ext cx="397827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>
            <a:spAutoFit/>
          </a:bodyPr>
          <a:lstStyle>
            <a:lvl1pPr eaLnBrk="0" hangingPunct="0">
              <a:spcBef>
                <a:spcPts val="800"/>
              </a:spcBef>
              <a:buFont typeface="Arial" pitchFamily="34" charset="0"/>
              <a:defRPr sz="1600" b="1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Карта текущего состояния процесса</a:t>
            </a:r>
            <a:endParaRPr lang="ru-RU" altLang="ru-RU" sz="1800" b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Пятно 1 43"/>
          <p:cNvSpPr/>
          <p:nvPr/>
        </p:nvSpPr>
        <p:spPr>
          <a:xfrm>
            <a:off x="4486276" y="1079845"/>
            <a:ext cx="1053597" cy="827364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8401050" y="2109788"/>
            <a:ext cx="428625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4" name="Пятно 1 33"/>
          <p:cNvSpPr/>
          <p:nvPr/>
        </p:nvSpPr>
        <p:spPr>
          <a:xfrm>
            <a:off x="7236296" y="1090270"/>
            <a:ext cx="956123" cy="949976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47" name="Пятно 1 46"/>
          <p:cNvSpPr/>
          <p:nvPr/>
        </p:nvSpPr>
        <p:spPr>
          <a:xfrm>
            <a:off x="280968" y="1191703"/>
            <a:ext cx="1012091" cy="754297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49" name="Пятно 1 48"/>
          <p:cNvSpPr/>
          <p:nvPr/>
        </p:nvSpPr>
        <p:spPr>
          <a:xfrm>
            <a:off x="2912430" y="1289348"/>
            <a:ext cx="1096318" cy="782424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FFFFFF"/>
                </a:solidFill>
              </a:rPr>
              <a:t>3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/>
        </p:nvGraphicFramePr>
        <p:xfrm>
          <a:off x="815975" y="3665538"/>
          <a:ext cx="1439863" cy="1387476"/>
        </p:xfrm>
        <a:graphic>
          <a:graphicData uri="http://schemas.openxmlformats.org/drawingml/2006/table">
            <a:tbl>
              <a:tblPr/>
              <a:tblGrid>
                <a:gridCol w="1439863"/>
              </a:tblGrid>
              <a:tr h="502887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ащиеся </a:t>
                      </a: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783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Входят</a:t>
                      </a:r>
                      <a:r>
                        <a:rPr lang="ru-RU" sz="1100" baseline="0" dirty="0" smtClean="0">
                          <a:latin typeface="+mn-lt"/>
                          <a:ea typeface="Calibri"/>
                          <a:cs typeface="Times New Roman"/>
                        </a:rPr>
                        <a:t> в класс, готовятся к уроку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62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5 мин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669925" y="1857375"/>
          <a:ext cx="1439863" cy="1387476"/>
        </p:xfrm>
        <a:graphic>
          <a:graphicData uri="http://schemas.openxmlformats.org/drawingml/2006/table">
            <a:tbl>
              <a:tblPr/>
              <a:tblGrid>
                <a:gridCol w="1439863"/>
              </a:tblGrid>
              <a:tr h="502887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еник</a:t>
                      </a: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783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Входит в школу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62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3-5 мин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8" name="Стрелка вправо 27"/>
          <p:cNvSpPr/>
          <p:nvPr/>
        </p:nvSpPr>
        <p:spPr>
          <a:xfrm>
            <a:off x="2305050" y="2405063"/>
            <a:ext cx="376238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0" name="Пятно 1 29"/>
          <p:cNvSpPr/>
          <p:nvPr/>
        </p:nvSpPr>
        <p:spPr>
          <a:xfrm>
            <a:off x="1337039" y="1331680"/>
            <a:ext cx="1156441" cy="745211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1" name="Пятно 1 30"/>
          <p:cNvSpPr/>
          <p:nvPr/>
        </p:nvSpPr>
        <p:spPr>
          <a:xfrm>
            <a:off x="1749937" y="3229892"/>
            <a:ext cx="1037202" cy="732805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40" name="Прямоугольник 39"/>
          <p:cNvSpPr/>
          <p:nvPr/>
        </p:nvSpPr>
        <p:spPr>
          <a:xfrm rot="16200000">
            <a:off x="-206859" y="2280257"/>
            <a:ext cx="1095055" cy="469186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ln w="1905"/>
                <a:gradFill>
                  <a:gsLst>
                    <a:gs pos="0">
                      <a:srgbClr val="506E94">
                        <a:shade val="20000"/>
                        <a:satMod val="200000"/>
                      </a:srgbClr>
                    </a:gs>
                    <a:gs pos="78000">
                      <a:srgbClr val="506E94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506E94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вход</a:t>
            </a:r>
          </a:p>
        </p:txBody>
      </p:sp>
      <p:sp>
        <p:nvSpPr>
          <p:cNvPr id="37973" name="Прямоугольник 40"/>
          <p:cNvSpPr>
            <a:spLocks noChangeArrowheads="1"/>
          </p:cNvSpPr>
          <p:nvPr/>
        </p:nvSpPr>
        <p:spPr bwMode="auto">
          <a:xfrm>
            <a:off x="3960813" y="3335338"/>
            <a:ext cx="4852987" cy="1392237"/>
          </a:xfrm>
          <a:prstGeom prst="rect">
            <a:avLst/>
          </a:prstGeom>
          <a:solidFill>
            <a:srgbClr val="FFFFFF"/>
          </a:solidFill>
          <a:ln w="25400" algn="ctr">
            <a:solidFill>
              <a:srgbClr val="3375B7"/>
            </a:solidFill>
            <a:miter lim="800000"/>
            <a:headEnd/>
            <a:tailEnd/>
          </a:ln>
        </p:spPr>
        <p:txBody>
          <a:bodyPr lIns="91430" tIns="45716" rIns="91430" bIns="45716">
            <a:spAutoFit/>
          </a:bodyPr>
          <a:lstStyle>
            <a:lvl1pPr defTabSz="912813" eaLnBrk="0" hangingPunct="0">
              <a:spcBef>
                <a:spcPts val="800"/>
              </a:spcBef>
              <a:buFont typeface="Arial" pitchFamily="34" charset="0"/>
              <a:defRPr sz="1600" b="1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defTabSz="912813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defTabSz="912813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defTabSz="912813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defTabSz="912813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fontAlgn="base" hangingPunct="1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чень проблем:</a:t>
            </a:r>
            <a:endParaRPr lang="ru-RU" altLang="ru-RU" sz="1100" b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10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1. </a:t>
            </a:r>
            <a:r>
              <a:rPr lang="ru-RU" altLang="ru-RU" sz="100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ое количество детей к первому уроку скапливается у входа в школу;</a:t>
            </a:r>
            <a:endParaRPr lang="ru-RU" altLang="ru-RU" sz="1000" b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2. Большое количество родителей желают пообщаться с учителем;</a:t>
            </a:r>
            <a:endParaRPr lang="ru-RU" altLang="ru-RU" sz="1000" b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3. Скопление детей при проведении термометрии;</a:t>
            </a:r>
            <a:endParaRPr lang="ru-RU" altLang="ru-RU" sz="1000" b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4. Скопление детей при переодевании в гардеробе;</a:t>
            </a:r>
            <a:endParaRPr lang="ru-RU" altLang="ru-RU" sz="1000" b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5. Дети создают толпу при выходе из гардероба; </a:t>
            </a:r>
            <a:endParaRPr lang="ru-RU" altLang="ru-RU" sz="1000" b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6. Пересечение потоков детей при движении в класс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7. Закрыт кабинет, в который должны войти дети.</a:t>
            </a:r>
            <a:endParaRPr lang="ru-RU" altLang="ru-RU" sz="1000" b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0320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>
          <a:xfrm>
            <a:off x="371475" y="260350"/>
            <a:ext cx="8686800" cy="55086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2400" dirty="0"/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>
            <a:normAutofit fontScale="92500" lnSpcReduction="20000"/>
          </a:bodyPr>
          <a:lstStyle/>
          <a:p>
            <a:pPr>
              <a:defRPr/>
            </a:pPr>
            <a:fld id="{150542E0-054B-4AE5-AF00-7DAA259C8639}" type="slidenum">
              <a:rPr lang="ru-RU" b="1">
                <a:solidFill>
                  <a:srgbClr val="C2AD8D">
                    <a:lumMod val="50000"/>
                  </a:srgbClr>
                </a:solidFill>
              </a:rPr>
              <a:pPr>
                <a:defRPr/>
              </a:pPr>
              <a:t>5</a:t>
            </a:fld>
            <a:endParaRPr lang="ru-RU" b="1" dirty="0">
              <a:solidFill>
                <a:srgbClr val="C2AD8D">
                  <a:lumMod val="50000"/>
                </a:srgbClr>
              </a:solidFill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686295" y="915514"/>
          <a:ext cx="5612412" cy="4245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Скругленный прямоугольник 8"/>
          <p:cNvSpPr/>
          <p:nvPr/>
        </p:nvSpPr>
        <p:spPr>
          <a:xfrm>
            <a:off x="4470400" y="2565400"/>
            <a:ext cx="2857500" cy="714375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7C984A">
                    <a:lumMod val="75000"/>
                  </a:srgbClr>
                </a:solidFill>
              </a:rPr>
              <a:t>Не выявлены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635375" y="1557338"/>
            <a:ext cx="2857500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7C984A">
                    <a:lumMod val="75000"/>
                  </a:srgbClr>
                </a:solidFill>
              </a:rPr>
              <a:t>Не выявлены</a:t>
            </a:r>
          </a:p>
        </p:txBody>
      </p:sp>
      <p:sp>
        <p:nvSpPr>
          <p:cNvPr id="13" name="Пятно 2 12"/>
          <p:cNvSpPr/>
          <p:nvPr/>
        </p:nvSpPr>
        <p:spPr>
          <a:xfrm>
            <a:off x="1763713" y="3930650"/>
            <a:ext cx="360362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lIns="91430" tIns="45716" rIns="91430" bIns="45716"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1</a:t>
            </a:r>
          </a:p>
        </p:txBody>
      </p:sp>
      <p:sp>
        <p:nvSpPr>
          <p:cNvPr id="14" name="Пятно 2 13"/>
          <p:cNvSpPr/>
          <p:nvPr/>
        </p:nvSpPr>
        <p:spPr>
          <a:xfrm>
            <a:off x="1403350" y="4443413"/>
            <a:ext cx="360363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lIns="91430" tIns="45716" rIns="91430" bIns="45716"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5</a:t>
            </a:r>
          </a:p>
        </p:txBody>
      </p:sp>
      <p:sp>
        <p:nvSpPr>
          <p:cNvPr id="15" name="Пятно 2 14"/>
          <p:cNvSpPr/>
          <p:nvPr/>
        </p:nvSpPr>
        <p:spPr>
          <a:xfrm>
            <a:off x="2411413" y="3838575"/>
            <a:ext cx="360362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lIns="91430" tIns="45716" rIns="91430" bIns="45716"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2</a:t>
            </a:r>
          </a:p>
        </p:txBody>
      </p:sp>
      <p:sp>
        <p:nvSpPr>
          <p:cNvPr id="16" name="Пятно 2 15"/>
          <p:cNvSpPr/>
          <p:nvPr/>
        </p:nvSpPr>
        <p:spPr>
          <a:xfrm>
            <a:off x="1957388" y="4456113"/>
            <a:ext cx="360362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lIns="91430" tIns="45716" rIns="91430" bIns="45716"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6</a:t>
            </a:r>
          </a:p>
        </p:txBody>
      </p:sp>
      <p:pic>
        <p:nvPicPr>
          <p:cNvPr id="3892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2863" y="3763963"/>
            <a:ext cx="40798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92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0863" y="3763963"/>
            <a:ext cx="40163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ятно 2 16"/>
          <p:cNvSpPr/>
          <p:nvPr/>
        </p:nvSpPr>
        <p:spPr>
          <a:xfrm>
            <a:off x="2563813" y="4464050"/>
            <a:ext cx="360362" cy="457200"/>
          </a:xfrm>
          <a:prstGeom prst="irregularSeal2">
            <a:avLst/>
          </a:prstGeom>
          <a:solidFill>
            <a:srgbClr val="FF0000"/>
          </a:solidFill>
          <a:ln w="15875" cap="flat" cmpd="sng" algn="ctr">
            <a:solidFill>
              <a:srgbClr val="C00000"/>
            </a:solidFill>
            <a:prstDash val="solid"/>
          </a:ln>
          <a:effectLst/>
        </p:spPr>
        <p:txBody>
          <a:bodyPr lIns="91430" tIns="45716" rIns="91430" bIns="45716" anchor="ctr"/>
          <a:lstStyle/>
          <a:p>
            <a:pPr algn="ctr">
              <a:defRPr/>
            </a:pPr>
            <a:r>
              <a:rPr lang="ru-RU" b="1" kern="0" dirty="0">
                <a:solidFill>
                  <a:prstClr val="white"/>
                </a:solidFill>
                <a:latin typeface="Candara"/>
                <a:cs typeface="Arial" pitchFamily="34" charset="0"/>
              </a:rPr>
              <a:t>7</a:t>
            </a:r>
          </a:p>
        </p:txBody>
      </p:sp>
      <p:pic>
        <p:nvPicPr>
          <p:cNvPr id="38926" name="Picture 1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3676650"/>
            <a:ext cx="3932237" cy="142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84646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143768" y="785794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Экономия</a:t>
            </a:r>
          </a:p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времени, мин.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170481" y="79761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4526" y="1431705"/>
            <a:ext cx="2110011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2444734" y="1250630"/>
            <a:ext cx="1950576" cy="556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ольшое количество детей к первому уроку скапливается у входа в школу с улицы</a:t>
            </a:r>
            <a:endParaRPr lang="ru-RU" dirty="0">
              <a:solidFill>
                <a:srgbClr val="000000"/>
              </a:solidFill>
              <a:latin typeface="Franklin Gothic Book" pitchFamily="34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715272" y="1412594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2,5-4.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44743" y="1213288"/>
            <a:ext cx="8474524" cy="91589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445394" y="144412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222125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4769695" y="1108660"/>
            <a:ext cx="2945578" cy="1017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крыть дополнительные входы;</a:t>
            </a:r>
          </a:p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значить  дежурного для регулирования потока детей  (на улице);</a:t>
            </a:r>
          </a:p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делить время прихода детей в школу (часть детей  приходят к третьему уроку)</a:t>
            </a:r>
          </a:p>
          <a:p>
            <a:pPr algn="ctr"/>
            <a:r>
              <a:rPr lang="ru-RU" altLang="ru-RU" sz="10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трелка: вправо 3"/>
          <p:cNvSpPr/>
          <p:nvPr/>
        </p:nvSpPr>
        <p:spPr>
          <a:xfrm rot="20716787">
            <a:off x="4659492" y="1496077"/>
            <a:ext cx="220403" cy="189923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720498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tx2"/>
                </a:solidFill>
              </a:rPr>
              <a:t>Первопричина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18864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1015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Анализ проблем 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01015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44742" y="4236914"/>
            <a:ext cx="8403087" cy="704254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57" name="Стрелка: вправо 3"/>
          <p:cNvSpPr/>
          <p:nvPr/>
        </p:nvSpPr>
        <p:spPr>
          <a:xfrm>
            <a:off x="1977608" y="3318738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358082" y="344962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Стрелка: вправо 3"/>
          <p:cNvSpPr/>
          <p:nvPr/>
        </p:nvSpPr>
        <p:spPr>
          <a:xfrm>
            <a:off x="4566582" y="336812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8" name="TextBox 41"/>
          <p:cNvSpPr txBox="1">
            <a:spLocks noChangeArrowheads="1"/>
          </p:cNvSpPr>
          <p:nvPr/>
        </p:nvSpPr>
        <p:spPr bwMode="auto">
          <a:xfrm>
            <a:off x="7812361" y="3318738"/>
            <a:ext cx="864096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98415" y="1523107"/>
            <a:ext cx="22304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чередь у входа</a:t>
            </a:r>
            <a:endParaRPr lang="ru-RU" alt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305223" y="3318738"/>
            <a:ext cx="8381147" cy="775709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73" name="Стрелка: вправо 3"/>
          <p:cNvSpPr/>
          <p:nvPr/>
        </p:nvSpPr>
        <p:spPr>
          <a:xfrm>
            <a:off x="1901619" y="444356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5" name="Стрелка: вправо 3"/>
          <p:cNvSpPr/>
          <p:nvPr/>
        </p:nvSpPr>
        <p:spPr>
          <a:xfrm>
            <a:off x="4155256" y="448884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9" name="Стрелка: вправо 3"/>
          <p:cNvSpPr/>
          <p:nvPr/>
        </p:nvSpPr>
        <p:spPr>
          <a:xfrm>
            <a:off x="7294085" y="4384738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0" name="TextBox 41"/>
          <p:cNvSpPr txBox="1">
            <a:spLocks noChangeArrowheads="1"/>
          </p:cNvSpPr>
          <p:nvPr/>
        </p:nvSpPr>
        <p:spPr bwMode="auto">
          <a:xfrm>
            <a:off x="7591864" y="4369440"/>
            <a:ext cx="1056438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9" name="Стрелка: вправо 3"/>
          <p:cNvSpPr/>
          <p:nvPr/>
        </p:nvSpPr>
        <p:spPr>
          <a:xfrm>
            <a:off x="2114537" y="149437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318720" y="2315858"/>
            <a:ext cx="8452585" cy="87714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2114535" y="266413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5" name="Стрелка: вправо 3"/>
          <p:cNvSpPr/>
          <p:nvPr/>
        </p:nvSpPr>
        <p:spPr>
          <a:xfrm>
            <a:off x="4653894" y="237312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7183457" y="248717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TextBox 41"/>
          <p:cNvSpPr txBox="1">
            <a:spLocks noChangeArrowheads="1"/>
          </p:cNvSpPr>
          <p:nvPr/>
        </p:nvSpPr>
        <p:spPr bwMode="auto">
          <a:xfrm>
            <a:off x="7715272" y="2415854"/>
            <a:ext cx="933029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>
                <a:solidFill>
                  <a:schemeClr val="tx2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05223" y="5085183"/>
            <a:ext cx="8466082" cy="646331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305223" y="5733256"/>
            <a:ext cx="8539595" cy="86409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90135" y="3238818"/>
            <a:ext cx="14293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копление детей в фойе у входа при проведении термометрии</a:t>
            </a:r>
            <a:endParaRPr lang="ru-RU" dirty="0">
              <a:solidFill>
                <a:srgbClr val="000000"/>
              </a:solidFill>
              <a:latin typeface="Franklin Gothic Book" pitchFamily="34" charset="0"/>
              <a:ea typeface="Calibri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146399" y="3343943"/>
            <a:ext cx="219026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начить дополнительного дежурного  для проведения термометрии (снабдить его дополнительным термометром);</a:t>
            </a:r>
          </a:p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0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304596" y="3335378"/>
            <a:ext cx="2109310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ое количество дежурных для проведения термометрии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27813" y="4225465"/>
            <a:ext cx="15917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копление детей при переодевании в гардеробе</a:t>
            </a:r>
            <a:endParaRPr lang="ru-RU" alt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201848" y="4285607"/>
            <a:ext cx="216179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начен дежурный для регулирования потока детей в гардеробе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575020" y="4285607"/>
            <a:ext cx="287037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рудовать раздевалки для части детей в классах;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Назначить дежурного для регулирования потока детей, входящих в гардероб;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98414" y="5085184"/>
            <a:ext cx="19463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ети создают толпу при выходе из гардероба.</a:t>
            </a: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59" name="Стрелка: вправо 3"/>
          <p:cNvSpPr/>
          <p:nvPr/>
        </p:nvSpPr>
        <p:spPr>
          <a:xfrm>
            <a:off x="2289161" y="516777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 flipH="1">
            <a:off x="2444730" y="5085184"/>
            <a:ext cx="179783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обозначены места выхода и входа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Стрелка: вправо 3"/>
          <p:cNvSpPr/>
          <p:nvPr/>
        </p:nvSpPr>
        <p:spPr>
          <a:xfrm>
            <a:off x="4363645" y="518908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 flipH="1">
            <a:off x="5103815" y="5085184"/>
            <a:ext cx="19164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значить места входа в гардероб и выхода из него;</a:t>
            </a:r>
          </a:p>
        </p:txBody>
      </p:sp>
      <p:sp>
        <p:nvSpPr>
          <p:cNvPr id="64" name="Стрелка: вправо 3"/>
          <p:cNvSpPr/>
          <p:nvPr/>
        </p:nvSpPr>
        <p:spPr>
          <a:xfrm>
            <a:off x="7286394" y="517649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6" name="TextBox 41"/>
          <p:cNvSpPr txBox="1">
            <a:spLocks noChangeArrowheads="1"/>
          </p:cNvSpPr>
          <p:nvPr/>
        </p:nvSpPr>
        <p:spPr bwMode="auto">
          <a:xfrm>
            <a:off x="7715272" y="5132025"/>
            <a:ext cx="961185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7812" y="5718047"/>
            <a:ext cx="21359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сечение потоков детей при движении в класс.</a:t>
            </a:r>
          </a:p>
        </p:txBody>
      </p:sp>
      <p:sp>
        <p:nvSpPr>
          <p:cNvPr id="71" name="Стрелка: вправо 3"/>
          <p:cNvSpPr/>
          <p:nvPr/>
        </p:nvSpPr>
        <p:spPr>
          <a:xfrm>
            <a:off x="2681648" y="605656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 flipH="1">
            <a:off x="2875110" y="5824174"/>
            <a:ext cx="169147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полнена разметка для движения потоков детей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Стрелка: вправо 3"/>
          <p:cNvSpPr/>
          <p:nvPr/>
        </p:nvSpPr>
        <p:spPr>
          <a:xfrm>
            <a:off x="4595070" y="601551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4769695" y="5805264"/>
            <a:ext cx="225057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делать разметку для движения потоков детей по школе;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7" name="Стрелка: вправо 3"/>
          <p:cNvSpPr/>
          <p:nvPr/>
        </p:nvSpPr>
        <p:spPr>
          <a:xfrm>
            <a:off x="7285070" y="605914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" name="TextBox 41"/>
          <p:cNvSpPr txBox="1">
            <a:spLocks noChangeArrowheads="1"/>
          </p:cNvSpPr>
          <p:nvPr/>
        </p:nvSpPr>
        <p:spPr bwMode="auto">
          <a:xfrm>
            <a:off x="7715273" y="6092445"/>
            <a:ext cx="933030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94718" y="2376811"/>
            <a:ext cx="171052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ое количество родителей желают пообщаться с учителем</a:t>
            </a:r>
            <a:endParaRPr lang="ru-RU" dirty="0">
              <a:solidFill>
                <a:srgbClr val="000000"/>
              </a:solidFill>
              <a:latin typeface="Franklin Gothic Book" pitchFamily="34" charset="0"/>
              <a:ea typeface="Calibri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771135" y="2240897"/>
            <a:ext cx="300608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лассным руководителям использовать мобильную связь,  социальные сети  для общения с родителями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. Заблаговременно уведомить родителей об ограничении входа  родителей в школу;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681648" y="2487173"/>
            <a:ext cx="18141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ные руководители недостаточно используют социальные сети, мобильную связь</a:t>
            </a:r>
            <a:endParaRPr lang="ru-RU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20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Заголовок 1"/>
          <p:cNvSpPr txBox="1">
            <a:spLocks/>
          </p:cNvSpPr>
          <p:nvPr/>
        </p:nvSpPr>
        <p:spPr bwMode="auto">
          <a:xfrm>
            <a:off x="571500" y="285750"/>
            <a:ext cx="82296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6" rIns="0" bIns="0" anchor="b"/>
          <a:lstStyle>
            <a:lvl1pPr eaLnBrk="0" hangingPunct="0">
              <a:spcBef>
                <a:spcPts val="800"/>
              </a:spcBef>
              <a:buFont typeface="Arial" pitchFamily="34" charset="0"/>
              <a:defRPr sz="1600" b="1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000">
              <a:solidFill>
                <a:srgbClr val="434342"/>
              </a:solidFill>
              <a:latin typeface="Franklin Gothic Medium" pitchFamily="34" charset="0"/>
              <a:cs typeface="Arial" pitchFamily="34" charset="0"/>
            </a:endParaRP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2787650" y="1270000"/>
          <a:ext cx="1439863" cy="1387476"/>
        </p:xfrm>
        <a:graphic>
          <a:graphicData uri="http://schemas.openxmlformats.org/drawingml/2006/table">
            <a:tbl>
              <a:tblPr/>
              <a:tblGrid>
                <a:gridCol w="1439863"/>
              </a:tblGrid>
              <a:tr h="502887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дработник у входа</a:t>
                      </a: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783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Проводит термометрию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62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0,1-</a:t>
                      </a:r>
                      <a:r>
                        <a:rPr lang="ru-RU" sz="11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0,</a:t>
                      </a: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2 </a:t>
                      </a:r>
                      <a:r>
                        <a:rPr lang="ru-RU" sz="11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минуты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8" name="Таблица 47"/>
          <p:cNvGraphicFramePr>
            <a:graphicFrameLocks noGrp="1"/>
          </p:cNvGraphicFramePr>
          <p:nvPr/>
        </p:nvGraphicFramePr>
        <p:xfrm>
          <a:off x="4787900" y="1308100"/>
          <a:ext cx="1320800" cy="1198563"/>
        </p:xfrm>
        <a:graphic>
          <a:graphicData uri="http://schemas.openxmlformats.org/drawingml/2006/table">
            <a:tbl>
              <a:tblPr/>
              <a:tblGrid>
                <a:gridCol w="1320800"/>
              </a:tblGrid>
              <a:tr h="445485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учающийся, </a:t>
                      </a:r>
                    </a:p>
                  </a:txBody>
                  <a:tcPr marL="68616" marR="6861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912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Раздеваются</a:t>
                      </a:r>
                      <a:r>
                        <a:rPr lang="ru-RU" sz="1100" baseline="0" dirty="0" smtClean="0">
                          <a:latin typeface="+mn-lt"/>
                          <a:ea typeface="Calibri"/>
                          <a:cs typeface="Times New Roman"/>
                        </a:rPr>
                        <a:t> в раздевалке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6" marR="6861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617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2-3 минут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6" marR="6861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2" name="Таблица 61"/>
          <p:cNvGraphicFramePr>
            <a:graphicFrameLocks noGrp="1"/>
          </p:cNvGraphicFramePr>
          <p:nvPr/>
        </p:nvGraphicFramePr>
        <p:xfrm>
          <a:off x="6748463" y="1292225"/>
          <a:ext cx="1547812" cy="1279524"/>
        </p:xfrm>
        <a:graphic>
          <a:graphicData uri="http://schemas.openxmlformats.org/drawingml/2006/table">
            <a:tbl>
              <a:tblPr/>
              <a:tblGrid>
                <a:gridCol w="1547812"/>
              </a:tblGrid>
              <a:tr h="57853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ащиеся</a:t>
                      </a:r>
                    </a:p>
                  </a:txBody>
                  <a:tcPr marL="68619" marR="6861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959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Идут в класс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19" marR="6861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506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1,5</a:t>
                      </a:r>
                      <a:r>
                        <a:rPr lang="ru-RU" sz="11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- 2минуты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19" marR="6861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14" name="Скругленный прямоугольник 113"/>
          <p:cNvSpPr/>
          <p:nvPr/>
        </p:nvSpPr>
        <p:spPr>
          <a:xfrm>
            <a:off x="4010025" y="3494088"/>
            <a:ext cx="2376488" cy="36036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0C515A"/>
                </a:solidFill>
              </a:rPr>
              <a:t>ВПП (время протекания процесса) 3,7– 5,8 минуты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4327525" y="1876425"/>
            <a:ext cx="376238" cy="328613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6172200" y="1857375"/>
            <a:ext cx="428625" cy="328613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252413" y="3690938"/>
            <a:ext cx="376237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2276475" y="3690938"/>
            <a:ext cx="376238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 rot="16200000">
            <a:off x="2449355" y="3619890"/>
            <a:ext cx="1314509" cy="469186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ln w="1905"/>
                <a:gradFill>
                  <a:gsLst>
                    <a:gs pos="0">
                      <a:srgbClr val="506E94">
                        <a:shade val="20000"/>
                        <a:satMod val="200000"/>
                      </a:srgbClr>
                    </a:gs>
                    <a:gs pos="78000">
                      <a:srgbClr val="506E94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506E94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выход</a:t>
            </a:r>
          </a:p>
        </p:txBody>
      </p:sp>
      <p:sp>
        <p:nvSpPr>
          <p:cNvPr id="50" name="Заголовок 1"/>
          <p:cNvSpPr txBox="1">
            <a:spLocks/>
          </p:cNvSpPr>
          <p:nvPr/>
        </p:nvSpPr>
        <p:spPr>
          <a:xfrm>
            <a:off x="142875" y="285750"/>
            <a:ext cx="8686800" cy="785813"/>
          </a:xfrm>
          <a:prstGeom prst="rect">
            <a:avLst/>
          </a:prstGeom>
        </p:spPr>
        <p:txBody>
          <a:bodyPr lIns="91430" tIns="45716" rIns="91430" bIns="45716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>
                <a:solidFill>
                  <a:srgbClr val="000000"/>
                </a:solidFill>
              </a:rPr>
              <a:t>Введение в предметную область</a:t>
            </a:r>
            <a:br>
              <a:rPr lang="ru-RU" sz="2000" b="1" dirty="0">
                <a:solidFill>
                  <a:srgbClr val="000000"/>
                </a:solidFill>
              </a:rPr>
            </a:br>
            <a:r>
              <a:rPr lang="ru-RU" sz="2000" b="1" dirty="0">
                <a:solidFill>
                  <a:srgbClr val="000000"/>
                </a:solidFill>
              </a:rPr>
              <a:t>(описание ситуации «как </a:t>
            </a:r>
            <a:r>
              <a:rPr lang="ru-RU" sz="2000" b="1" dirty="0" smtClean="0">
                <a:solidFill>
                  <a:srgbClr val="000000"/>
                </a:solidFill>
              </a:rPr>
              <a:t>будет»)</a:t>
            </a:r>
            <a:r>
              <a:rPr lang="ru-RU" sz="3000" b="1" dirty="0">
                <a:solidFill>
                  <a:srgbClr val="000000"/>
                </a:solidFill>
              </a:rPr>
              <a:t/>
            </a:r>
            <a:br>
              <a:rPr lang="ru-RU" sz="3000" b="1" dirty="0">
                <a:solidFill>
                  <a:srgbClr val="000000"/>
                </a:solidFill>
              </a:rPr>
            </a:br>
            <a:endParaRPr lang="ru-RU" sz="3000" b="1" dirty="0">
              <a:solidFill>
                <a:srgbClr val="000000"/>
              </a:solidFill>
            </a:endParaRPr>
          </a:p>
        </p:txBody>
      </p:sp>
      <p:sp>
        <p:nvSpPr>
          <p:cNvPr id="41000" name="Прямоугольник 51"/>
          <p:cNvSpPr>
            <a:spLocks noChangeArrowheads="1"/>
          </p:cNvSpPr>
          <p:nvPr/>
        </p:nvSpPr>
        <p:spPr bwMode="auto">
          <a:xfrm>
            <a:off x="4714875" y="357188"/>
            <a:ext cx="38814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>
            <a:spAutoFit/>
          </a:bodyPr>
          <a:lstStyle>
            <a:lvl1pPr eaLnBrk="0" hangingPunct="0">
              <a:spcBef>
                <a:spcPts val="800"/>
              </a:spcBef>
              <a:buFont typeface="Arial" pitchFamily="34" charset="0"/>
              <a:defRPr sz="1600" b="1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800" b="0">
                <a:solidFill>
                  <a:srgbClr val="000000"/>
                </a:solidFill>
                <a:latin typeface="Franklin Gothic Medium" pitchFamily="34" charset="0"/>
                <a:cs typeface="Arial" pitchFamily="34" charset="0"/>
              </a:rPr>
              <a:t>Карта целевого состояния процесса</a:t>
            </a:r>
            <a:endParaRPr lang="ru-RU" altLang="ru-RU" sz="1800" b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Стрелка вправо 56"/>
          <p:cNvSpPr/>
          <p:nvPr/>
        </p:nvSpPr>
        <p:spPr>
          <a:xfrm>
            <a:off x="8372475" y="1804988"/>
            <a:ext cx="428625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/>
        </p:nvGraphicFramePr>
        <p:xfrm>
          <a:off x="628650" y="3149600"/>
          <a:ext cx="1439863" cy="1387476"/>
        </p:xfrm>
        <a:graphic>
          <a:graphicData uri="http://schemas.openxmlformats.org/drawingml/2006/table">
            <a:tbl>
              <a:tblPr/>
              <a:tblGrid>
                <a:gridCol w="1439863"/>
              </a:tblGrid>
              <a:tr h="502887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ащиеся </a:t>
                      </a: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783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Входят</a:t>
                      </a:r>
                      <a:r>
                        <a:rPr lang="ru-RU" sz="1100" baseline="0" dirty="0" smtClean="0">
                          <a:latin typeface="+mn-lt"/>
                          <a:ea typeface="Calibri"/>
                          <a:cs typeface="Times New Roman"/>
                        </a:rPr>
                        <a:t> в класс, готовятся к уроку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62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0-0,1 мин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755650" y="1273175"/>
          <a:ext cx="1439863" cy="1387476"/>
        </p:xfrm>
        <a:graphic>
          <a:graphicData uri="http://schemas.openxmlformats.org/drawingml/2006/table">
            <a:tbl>
              <a:tblPr/>
              <a:tblGrid>
                <a:gridCol w="1439863"/>
              </a:tblGrid>
              <a:tr h="502887">
                <a:tc>
                  <a:txBody>
                    <a:bodyPr/>
                    <a:lstStyle/>
                    <a:p>
                      <a:pPr algn="ctr"/>
                      <a:r>
                        <a:rPr lang="ru-RU" altLang="en-US" sz="11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еник</a:t>
                      </a: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783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+mn-lt"/>
                          <a:ea typeface="Calibri"/>
                          <a:cs typeface="Times New Roman"/>
                        </a:rPr>
                        <a:t>Входит в школу</a:t>
                      </a:r>
                      <a:endParaRPr lang="ru-RU" sz="11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062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Calibri"/>
                          <a:cs typeface="Times New Roman"/>
                        </a:rPr>
                        <a:t>0,1-0,5 мин</a:t>
                      </a:r>
                      <a:endParaRPr lang="ru-RU" sz="11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607" marR="6860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8" name="Стрелка вправо 27"/>
          <p:cNvSpPr/>
          <p:nvPr/>
        </p:nvSpPr>
        <p:spPr>
          <a:xfrm>
            <a:off x="2268538" y="1906588"/>
            <a:ext cx="376237" cy="328612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0" tIns="45716" rIns="91430" bIns="4571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 rot="16200000">
            <a:off x="-168849" y="1787078"/>
            <a:ext cx="1095055" cy="469186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ln w="1905"/>
                <a:gradFill>
                  <a:gsLst>
                    <a:gs pos="0">
                      <a:srgbClr val="506E94">
                        <a:shade val="20000"/>
                        <a:satMod val="200000"/>
                      </a:srgbClr>
                    </a:gs>
                    <a:gs pos="78000">
                      <a:srgbClr val="506E94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506E94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вход</a:t>
            </a:r>
          </a:p>
        </p:txBody>
      </p:sp>
    </p:spTree>
    <p:extLst>
      <p:ext uri="{BB962C8B-B14F-4D97-AF65-F5344CB8AC3E}">
        <p14:creationId xmlns:p14="http://schemas.microsoft.com/office/powerpoint/2010/main" val="73262931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44475" y="3501009"/>
            <a:ext cx="8636000" cy="286119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28604"/>
            <a:ext cx="8648700" cy="63182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1015F"/>
                </a:solidFill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85720" y="1214422"/>
            <a:ext cx="8636000" cy="215651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76285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083920" y="1523913"/>
            <a:ext cx="2300945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крыты 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полнительные входы;</a:t>
            </a:r>
          </a:p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значены  </a:t>
            </a:r>
            <a:r>
              <a:rPr lang="ru-RU" sz="10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ежурноые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для 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егулирования потока детей  (на улице);</a:t>
            </a:r>
          </a:p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делено 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ремя прихода детей в школу (часть детей  приходят к третьему уроку)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534697" y="1523913"/>
            <a:ext cx="10398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562475" y="1251577"/>
            <a:ext cx="10398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539552" y="4099063"/>
            <a:ext cx="10398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643438" y="4071942"/>
            <a:ext cx="10398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469942"/>
            <a:ext cx="185026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ое количество родителей желают пообщаться с учителем</a:t>
            </a:r>
            <a:endParaRPr lang="ru-RU" sz="1800" dirty="0">
              <a:solidFill>
                <a:srgbClr val="000000"/>
              </a:solidFill>
              <a:latin typeface="Franklin Gothic Book" pitchFamily="34" charset="0"/>
              <a:ea typeface="Calibri" pitchFamily="34" charset="0"/>
              <a:cs typeface="Arial" pitchFamily="34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286248" y="4429132"/>
            <a:ext cx="1896291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1.Классные </a:t>
            </a:r>
            <a:r>
              <a:rPr lang="ru-RU" altLang="ru-RU" sz="1000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уководителяи</a:t>
            </a:r>
            <a:r>
              <a:rPr lang="ru-RU" alt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используют </a:t>
            </a:r>
            <a:r>
              <a:rPr lang="ru-RU" altLang="ru-RU" sz="1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обильную связь,  социальные сети  для общения с родителями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altLang="ru-RU" sz="1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534697" y="1800137"/>
            <a:ext cx="185026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ольшое количество детей к первому уроку скапливается у входа в школу с улицы</a:t>
            </a:r>
            <a:endParaRPr lang="ru-RU" sz="1800" dirty="0">
              <a:solidFill>
                <a:srgbClr val="000000"/>
              </a:solidFill>
              <a:latin typeface="Franklin Gothic Book" pitchFamily="34" charset="0"/>
              <a:cs typeface="Arial" pitchFamily="34" charset="0"/>
            </a:endParaRPr>
          </a:p>
        </p:txBody>
      </p:sp>
      <p:pic>
        <p:nvPicPr>
          <p:cNvPr id="7317" name="Picture 149" descr="C:\Users\User\Desktop\зам по МР\опорная площадка\Новый проект с 01.09.20\Новый проект с 01.09.20\Новый проект с 01.09.20\ФОТОКАВИД\IMG_937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614" y="1618035"/>
            <a:ext cx="1224268" cy="918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20" name="Picture 15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3869053"/>
            <a:ext cx="1317625" cy="175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75977" y="3862953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28604"/>
            <a:ext cx="8648700" cy="63182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1015F"/>
                </a:solidFill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0796" y="1268760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76285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286248" y="1714488"/>
            <a:ext cx="152537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lvl="0" indent="-228600" defTabSz="912813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начены дополнительные дежурные  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проведения </a:t>
            </a: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рмометрии</a:t>
            </a:r>
            <a:endParaRPr lang="ru-RU" sz="10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494344" y="1557022"/>
            <a:ext cx="1039813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355976" y="1418034"/>
            <a:ext cx="10398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341504" y="4099063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429124" y="4071942"/>
            <a:ext cx="1039812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300" b="1" dirty="0">
                <a:solidFill>
                  <a:srgbClr val="00B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507016"/>
            <a:ext cx="18502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копление детей при переодевании в гардеробе.</a:t>
            </a:r>
            <a:endParaRPr lang="ru-RU" sz="1800" dirty="0">
              <a:solidFill>
                <a:srgbClr val="000000"/>
              </a:solidFill>
              <a:latin typeface="Franklin Gothic Book" pitchFamily="34" charset="0"/>
              <a:ea typeface="Calibri" pitchFamily="34" charset="0"/>
              <a:cs typeface="Arial" pitchFamily="34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3779912" y="4357694"/>
            <a:ext cx="180023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рудованы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валки для части детей в классах;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начены дежурные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регулирования потока детей, входящих в гардероб;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494344" y="1816716"/>
            <a:ext cx="185026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копление детей в фойе у входа при проведении термометрии</a:t>
            </a:r>
            <a:endParaRPr lang="ru-RU" sz="1800" dirty="0">
              <a:solidFill>
                <a:srgbClr val="000000"/>
              </a:solidFill>
              <a:latin typeface="Franklin Gothic Book" pitchFamily="34" charset="0"/>
              <a:ea typeface="Calibri" pitchFamily="34" charset="0"/>
              <a:cs typeface="Arial" pitchFamily="34" charset="0"/>
            </a:endParaRPr>
          </a:p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347" name="Picture 15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3319" y="1552314"/>
            <a:ext cx="1349821" cy="18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49" name="Picture 157" descr="C:\Users\User\Desktop\зам по МР\опорная площадка\Новый проект с 01.09.20\Новый проект с 01.09.20\Новый проект с 01.09.20\ФОТОКАВИД\IMG_938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076" y="4140957"/>
            <a:ext cx="1412305" cy="1883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Углы">
  <a:themeElements>
    <a:clrScheme name="Углы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Углы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Угл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65</TotalTime>
  <Words>1018</Words>
  <Application>Microsoft Office PowerPoint</Application>
  <PresentationFormat>Экран (4:3)</PresentationFormat>
  <Paragraphs>262</Paragraphs>
  <Slides>1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6" baseType="lpstr">
      <vt:lpstr>Тема Office</vt:lpstr>
      <vt:lpstr>Углы</vt:lpstr>
      <vt:lpstr>think-cell Slide</vt:lpstr>
      <vt:lpstr> «Оптимизация процесса Утреннего приёма детей в школу в условиях covid-19»</vt:lpstr>
      <vt:lpstr>Паспорт проекта  «Оптимизация процесса утреннего приема детей в школу в условиях covid-19»</vt:lpstr>
      <vt:lpstr>Команда проекта </vt:lpstr>
      <vt:lpstr>Презентация PowerPoint</vt:lpstr>
      <vt:lpstr>Пирамида проблем</vt:lpstr>
      <vt:lpstr>Презентация PowerPoint</vt:lpstr>
      <vt:lpstr>Презентация PowerPoint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HP</cp:lastModifiedBy>
  <cp:revision>234</cp:revision>
  <cp:lastPrinted>2019-04-25T09:14:46Z</cp:lastPrinted>
  <dcterms:created xsi:type="dcterms:W3CDTF">2018-08-20T14:01:12Z</dcterms:created>
  <dcterms:modified xsi:type="dcterms:W3CDTF">2021-10-07T13:11:35Z</dcterms:modified>
</cp:coreProperties>
</file>